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7" r:id="rId5"/>
    <p:sldMasterId id="2147483694" r:id="rId6"/>
    <p:sldMasterId id="2147483708" r:id="rId7"/>
  </p:sldMasterIdLst>
  <p:notesMasterIdLst>
    <p:notesMasterId r:id="rId25"/>
  </p:notesMasterIdLst>
  <p:handoutMasterIdLst>
    <p:handoutMasterId r:id="rId26"/>
  </p:handoutMasterIdLst>
  <p:sldIdLst>
    <p:sldId id="305" r:id="rId8"/>
    <p:sldId id="293" r:id="rId9"/>
    <p:sldId id="374" r:id="rId10"/>
    <p:sldId id="338" r:id="rId11"/>
    <p:sldId id="339" r:id="rId12"/>
    <p:sldId id="294" r:id="rId13"/>
    <p:sldId id="448" r:id="rId14"/>
    <p:sldId id="370" r:id="rId15"/>
    <p:sldId id="371" r:id="rId16"/>
    <p:sldId id="385" r:id="rId17"/>
    <p:sldId id="510" r:id="rId18"/>
    <p:sldId id="511" r:id="rId19"/>
    <p:sldId id="376" r:id="rId20"/>
    <p:sldId id="384" r:id="rId21"/>
    <p:sldId id="386" r:id="rId22"/>
    <p:sldId id="382" r:id="rId23"/>
    <p:sldId id="300" r:id="rId24"/>
  </p:sldIdLst>
  <p:sldSz cx="12192000" cy="6858000"/>
  <p:notesSz cx="6797675" cy="9928225"/>
  <p:custDataLst>
    <p:tags r:id="rId2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que France Travail N°1" id="{8DC8CBC0-2DBC-456F-8830-D9E4E5FAE58F}">
          <p14:sldIdLst>
            <p14:sldId id="305"/>
            <p14:sldId id="293"/>
            <p14:sldId id="374"/>
            <p14:sldId id="338"/>
            <p14:sldId id="339"/>
            <p14:sldId id="294"/>
            <p14:sldId id="448"/>
            <p14:sldId id="370"/>
            <p14:sldId id="371"/>
            <p14:sldId id="385"/>
            <p14:sldId id="510"/>
            <p14:sldId id="511"/>
            <p14:sldId id="376"/>
            <p14:sldId id="384"/>
            <p14:sldId id="386"/>
            <p14:sldId id="382"/>
            <p14:sldId id="300"/>
          </p14:sldIdLst>
        </p14:section>
        <p14:section name="Masque France Travail N°2" id="{C2F238C1-BB38-4519-861B-1C4A421294E5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18002A-70ED-2924-BBBE-3D8A2F06D39E}" name="Heitor Malheiro" initials="HM" userId="S::heitor.malheiro@mprez.fr::0e0a98d2-cb36-4b4f-81ce-3e7f5eaf38b1" providerId="AD"/>
  <p188:author id="{FF7E09ED-9AE8-2C6E-60A3-0331D70B8720}" name="Philippine Maroniez" initials="" userId="S::philippine.maroniez@mprez.fr::7c9fdb7f-ef9e-4c65-89b8-630c2b0095e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E1C196-31D6-70F6-0846-2667727CB758}" v="55" dt="2025-01-20T11:10:24.680"/>
    <p1510:client id="{E3E9C040-D8DE-497C-8FBD-0FD37981B8CF}" v="40" dt="2025-01-20T09:05:09.2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526" autoAdjust="0"/>
    <p:restoredTop sz="91469" autoAdjust="0"/>
  </p:normalViewPr>
  <p:slideViewPr>
    <p:cSldViewPr snapToGrid="0">
      <p:cViewPr>
        <p:scale>
          <a:sx n="78" d="100"/>
          <a:sy n="78" d="100"/>
        </p:scale>
        <p:origin x="36" y="-5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AUVAIS Marie Neige" userId="S::m-neige.beauvais@francetravail.fr::b723bb87-4b14-4a8c-9a94-8bc30adbb9ac" providerId="AD" clId="Web-{216751BF-2A58-4A58-8A75-1A54C60735FE}"/>
    <pc:docChg chg="modSld">
      <pc:chgData name="BEAUVAIS Marie Neige" userId="S::m-neige.beauvais@francetravail.fr::b723bb87-4b14-4a8c-9a94-8bc30adbb9ac" providerId="AD" clId="Web-{216751BF-2A58-4A58-8A75-1A54C60735FE}" dt="2025-01-17T15:34:25.675" v="47"/>
      <pc:docMkLst>
        <pc:docMk/>
      </pc:docMkLst>
      <pc:sldChg chg="addSp">
        <pc:chgData name="BEAUVAIS Marie Neige" userId="S::m-neige.beauvais@francetravail.fr::b723bb87-4b14-4a8c-9a94-8bc30adbb9ac" providerId="AD" clId="Web-{216751BF-2A58-4A58-8A75-1A54C60735FE}" dt="2025-01-17T15:32:37.064" v="29"/>
        <pc:sldMkLst>
          <pc:docMk/>
          <pc:sldMk cId="911487199" sldId="293"/>
        </pc:sldMkLst>
        <pc:spChg chg="add">
          <ac:chgData name="BEAUVAIS Marie Neige" userId="S::m-neige.beauvais@francetravail.fr::b723bb87-4b14-4a8c-9a94-8bc30adbb9ac" providerId="AD" clId="Web-{216751BF-2A58-4A58-8A75-1A54C60735FE}" dt="2025-01-17T15:32:37.064" v="29"/>
          <ac:spMkLst>
            <pc:docMk/>
            <pc:sldMk cId="911487199" sldId="293"/>
            <ac:spMk id="29" creationId="{8683FF2E-5AFC-D3B3-3CC8-71266CC9D277}"/>
          </ac:spMkLst>
        </pc:spChg>
      </pc:sldChg>
      <pc:sldChg chg="modSp">
        <pc:chgData name="BEAUVAIS Marie Neige" userId="S::m-neige.beauvais@francetravail.fr::b723bb87-4b14-4a8c-9a94-8bc30adbb9ac" providerId="AD" clId="Web-{216751BF-2A58-4A58-8A75-1A54C60735FE}" dt="2025-01-17T15:31:29.750" v="15" actId="20577"/>
        <pc:sldMkLst>
          <pc:docMk/>
          <pc:sldMk cId="24107254" sldId="294"/>
        </pc:sldMkLst>
        <pc:spChg chg="mod">
          <ac:chgData name="BEAUVAIS Marie Neige" userId="S::m-neige.beauvais@francetravail.fr::b723bb87-4b14-4a8c-9a94-8bc30adbb9ac" providerId="AD" clId="Web-{216751BF-2A58-4A58-8A75-1A54C60735FE}" dt="2025-01-17T15:31:29.750" v="15" actId="20577"/>
          <ac:spMkLst>
            <pc:docMk/>
            <pc:sldMk cId="24107254" sldId="294"/>
            <ac:spMk id="26" creationId="{E5EB7B80-7255-F9E7-EE8F-F8B811FD37B0}"/>
          </ac:spMkLst>
        </pc:spChg>
      </pc:sldChg>
      <pc:sldChg chg="addSp modSp">
        <pc:chgData name="BEAUVAIS Marie Neige" userId="S::m-neige.beauvais@francetravail.fr::b723bb87-4b14-4a8c-9a94-8bc30adbb9ac" providerId="AD" clId="Web-{216751BF-2A58-4A58-8A75-1A54C60735FE}" dt="2025-01-17T15:32:31.408" v="28" actId="1076"/>
        <pc:sldMkLst>
          <pc:docMk/>
          <pc:sldMk cId="134511609" sldId="338"/>
        </pc:sldMkLst>
        <pc:spChg chg="add mod">
          <ac:chgData name="BEAUVAIS Marie Neige" userId="S::m-neige.beauvais@francetravail.fr::b723bb87-4b14-4a8c-9a94-8bc30adbb9ac" providerId="AD" clId="Web-{216751BF-2A58-4A58-8A75-1A54C60735FE}" dt="2025-01-17T15:32:31.408" v="28" actId="1076"/>
          <ac:spMkLst>
            <pc:docMk/>
            <pc:sldMk cId="134511609" sldId="338"/>
            <ac:spMk id="4" creationId="{3BD3B892-92CE-067F-3A52-4A5464C309CD}"/>
          </ac:spMkLst>
        </pc:spChg>
      </pc:sldChg>
      <pc:sldChg chg="addSp modSp">
        <pc:chgData name="BEAUVAIS Marie Neige" userId="S::m-neige.beauvais@francetravail.fr::b723bb87-4b14-4a8c-9a94-8bc30adbb9ac" providerId="AD" clId="Web-{216751BF-2A58-4A58-8A75-1A54C60735FE}" dt="2025-01-17T15:32:53.939" v="32" actId="1076"/>
        <pc:sldMkLst>
          <pc:docMk/>
          <pc:sldMk cId="1025980971" sldId="339"/>
        </pc:sldMkLst>
        <pc:spChg chg="add mod">
          <ac:chgData name="BEAUVAIS Marie Neige" userId="S::m-neige.beauvais@francetravail.fr::b723bb87-4b14-4a8c-9a94-8bc30adbb9ac" providerId="AD" clId="Web-{216751BF-2A58-4A58-8A75-1A54C60735FE}" dt="2025-01-17T15:32:53.939" v="32" actId="1076"/>
          <ac:spMkLst>
            <pc:docMk/>
            <pc:sldMk cId="1025980971" sldId="339"/>
            <ac:spMk id="7" creationId="{5A76CBA6-8184-B9C6-603F-CDFB1B49FC04}"/>
          </ac:spMkLst>
        </pc:spChg>
      </pc:sldChg>
      <pc:sldChg chg="addSp">
        <pc:chgData name="BEAUVAIS Marie Neige" userId="S::m-neige.beauvais@francetravail.fr::b723bb87-4b14-4a8c-9a94-8bc30adbb9ac" providerId="AD" clId="Web-{216751BF-2A58-4A58-8A75-1A54C60735FE}" dt="2025-01-17T15:33:06.299" v="33"/>
        <pc:sldMkLst>
          <pc:docMk/>
          <pc:sldMk cId="2438801887" sldId="370"/>
        </pc:sldMkLst>
        <pc:spChg chg="add">
          <ac:chgData name="BEAUVAIS Marie Neige" userId="S::m-neige.beauvais@francetravail.fr::b723bb87-4b14-4a8c-9a94-8bc30adbb9ac" providerId="AD" clId="Web-{216751BF-2A58-4A58-8A75-1A54C60735FE}" dt="2025-01-17T15:33:06.299" v="33"/>
          <ac:spMkLst>
            <pc:docMk/>
            <pc:sldMk cId="2438801887" sldId="370"/>
            <ac:spMk id="6" creationId="{F8173517-4EAE-1F47-A2EA-FDD7458CA0EF}"/>
          </ac:spMkLst>
        </pc:spChg>
      </pc:sldChg>
      <pc:sldChg chg="modSp">
        <pc:chgData name="BEAUVAIS Marie Neige" userId="S::m-neige.beauvais@francetravail.fr::b723bb87-4b14-4a8c-9a94-8bc30adbb9ac" providerId="AD" clId="Web-{216751BF-2A58-4A58-8A75-1A54C60735FE}" dt="2025-01-17T15:31:38.469" v="18" actId="20577"/>
        <pc:sldMkLst>
          <pc:docMk/>
          <pc:sldMk cId="3506371054" sldId="371"/>
        </pc:sldMkLst>
        <pc:spChg chg="mod">
          <ac:chgData name="BEAUVAIS Marie Neige" userId="S::m-neige.beauvais@francetravail.fr::b723bb87-4b14-4a8c-9a94-8bc30adbb9ac" providerId="AD" clId="Web-{216751BF-2A58-4A58-8A75-1A54C60735FE}" dt="2025-01-17T15:31:38.469" v="18" actId="20577"/>
          <ac:spMkLst>
            <pc:docMk/>
            <pc:sldMk cId="3506371054" sldId="371"/>
            <ac:spMk id="11" creationId="{C2DFDAA3-6494-73B1-C515-2331A357CC4E}"/>
          </ac:spMkLst>
        </pc:spChg>
      </pc:sldChg>
      <pc:sldChg chg="addSp">
        <pc:chgData name="BEAUVAIS Marie Neige" userId="S::m-neige.beauvais@francetravail.fr::b723bb87-4b14-4a8c-9a94-8bc30adbb9ac" providerId="AD" clId="Web-{216751BF-2A58-4A58-8A75-1A54C60735FE}" dt="2025-01-17T15:32:21.954" v="26"/>
        <pc:sldMkLst>
          <pc:docMk/>
          <pc:sldMk cId="2159442685" sldId="374"/>
        </pc:sldMkLst>
        <pc:spChg chg="add">
          <ac:chgData name="BEAUVAIS Marie Neige" userId="S::m-neige.beauvais@francetravail.fr::b723bb87-4b14-4a8c-9a94-8bc30adbb9ac" providerId="AD" clId="Web-{216751BF-2A58-4A58-8A75-1A54C60735FE}" dt="2025-01-17T15:32:21.954" v="26"/>
          <ac:spMkLst>
            <pc:docMk/>
            <pc:sldMk cId="2159442685" sldId="374"/>
            <ac:spMk id="5" creationId="{31E00820-D543-2848-37C5-C64CA00ED7D4}"/>
          </ac:spMkLst>
        </pc:spChg>
      </pc:sldChg>
      <pc:sldChg chg="addSp delSp modSp">
        <pc:chgData name="BEAUVAIS Marie Neige" userId="S::m-neige.beauvais@francetravail.fr::b723bb87-4b14-4a8c-9a94-8bc30adbb9ac" providerId="AD" clId="Web-{216751BF-2A58-4A58-8A75-1A54C60735FE}" dt="2025-01-17T15:34:25.675" v="47"/>
        <pc:sldMkLst>
          <pc:docMk/>
          <pc:sldMk cId="1108628652" sldId="376"/>
        </pc:sldMkLst>
        <pc:spChg chg="add del mod">
          <ac:chgData name="BEAUVAIS Marie Neige" userId="S::m-neige.beauvais@francetravail.fr::b723bb87-4b14-4a8c-9a94-8bc30adbb9ac" providerId="AD" clId="Web-{216751BF-2A58-4A58-8A75-1A54C60735FE}" dt="2025-01-17T15:34:16.596" v="46"/>
          <ac:spMkLst>
            <pc:docMk/>
            <pc:sldMk cId="1108628652" sldId="376"/>
            <ac:spMk id="4" creationId="{619019A2-4948-0C28-C890-B23C022DB04A}"/>
          </ac:spMkLst>
        </pc:spChg>
        <pc:spChg chg="del mod">
          <ac:chgData name="BEAUVAIS Marie Neige" userId="S::m-neige.beauvais@francetravail.fr::b723bb87-4b14-4a8c-9a94-8bc30adbb9ac" providerId="AD" clId="Web-{216751BF-2A58-4A58-8A75-1A54C60735FE}" dt="2025-01-17T15:34:04.487" v="42"/>
          <ac:spMkLst>
            <pc:docMk/>
            <pc:sldMk cId="1108628652" sldId="376"/>
            <ac:spMk id="34" creationId="{854704F9-9974-9763-7ABA-631C64E8A0EC}"/>
          </ac:spMkLst>
        </pc:spChg>
        <pc:spChg chg="add">
          <ac:chgData name="BEAUVAIS Marie Neige" userId="S::m-neige.beauvais@francetravail.fr::b723bb87-4b14-4a8c-9a94-8bc30adbb9ac" providerId="AD" clId="Web-{216751BF-2A58-4A58-8A75-1A54C60735FE}" dt="2025-01-17T15:34:25.675" v="47"/>
          <ac:spMkLst>
            <pc:docMk/>
            <pc:sldMk cId="1108628652" sldId="376"/>
            <ac:spMk id="40" creationId="{6078C7AD-2DD0-13ED-F0A6-D4BBB516D3F6}"/>
          </ac:spMkLst>
        </pc:spChg>
      </pc:sldChg>
      <pc:sldChg chg="modSp">
        <pc:chgData name="BEAUVAIS Marie Neige" userId="S::m-neige.beauvais@francetravail.fr::b723bb87-4b14-4a8c-9a94-8bc30adbb9ac" providerId="AD" clId="Web-{216751BF-2A58-4A58-8A75-1A54C60735FE}" dt="2025-01-17T15:32:04.267" v="25" actId="20577"/>
        <pc:sldMkLst>
          <pc:docMk/>
          <pc:sldMk cId="4211477263" sldId="382"/>
        </pc:sldMkLst>
        <pc:spChg chg="mod">
          <ac:chgData name="BEAUVAIS Marie Neige" userId="S::m-neige.beauvais@francetravail.fr::b723bb87-4b14-4a8c-9a94-8bc30adbb9ac" providerId="AD" clId="Web-{216751BF-2A58-4A58-8A75-1A54C60735FE}" dt="2025-01-17T15:32:04.267" v="25" actId="20577"/>
          <ac:spMkLst>
            <pc:docMk/>
            <pc:sldMk cId="4211477263" sldId="382"/>
            <ac:spMk id="19" creationId="{EF80E5F8-A218-5663-95A2-EC0B33C0E654}"/>
          </ac:spMkLst>
        </pc:spChg>
      </pc:sldChg>
      <pc:sldChg chg="modSp">
        <pc:chgData name="BEAUVAIS Marie Neige" userId="S::m-neige.beauvais@francetravail.fr::b723bb87-4b14-4a8c-9a94-8bc30adbb9ac" providerId="AD" clId="Web-{216751BF-2A58-4A58-8A75-1A54C60735FE}" dt="2025-01-17T15:31:55.079" v="22" actId="20577"/>
        <pc:sldMkLst>
          <pc:docMk/>
          <pc:sldMk cId="2879876816" sldId="384"/>
        </pc:sldMkLst>
        <pc:spChg chg="mod">
          <ac:chgData name="BEAUVAIS Marie Neige" userId="S::m-neige.beauvais@francetravail.fr::b723bb87-4b14-4a8c-9a94-8bc30adbb9ac" providerId="AD" clId="Web-{216751BF-2A58-4A58-8A75-1A54C60735FE}" dt="2025-01-17T15:31:55.079" v="22" actId="20577"/>
          <ac:spMkLst>
            <pc:docMk/>
            <pc:sldMk cId="2879876816" sldId="384"/>
            <ac:spMk id="11" creationId="{E04913C2-C6DB-FE53-D02E-C81CFFE132E2}"/>
          </ac:spMkLst>
        </pc:spChg>
      </pc:sldChg>
      <pc:sldChg chg="addSp">
        <pc:chgData name="BEAUVAIS Marie Neige" userId="S::m-neige.beauvais@francetravail.fr::b723bb87-4b14-4a8c-9a94-8bc30adbb9ac" providerId="AD" clId="Web-{216751BF-2A58-4A58-8A75-1A54C60735FE}" dt="2025-01-17T15:33:14.033" v="34"/>
        <pc:sldMkLst>
          <pc:docMk/>
          <pc:sldMk cId="220173245" sldId="385"/>
        </pc:sldMkLst>
        <pc:spChg chg="add">
          <ac:chgData name="BEAUVAIS Marie Neige" userId="S::m-neige.beauvais@francetravail.fr::b723bb87-4b14-4a8c-9a94-8bc30adbb9ac" providerId="AD" clId="Web-{216751BF-2A58-4A58-8A75-1A54C60735FE}" dt="2025-01-17T15:33:14.033" v="34"/>
          <ac:spMkLst>
            <pc:docMk/>
            <pc:sldMk cId="220173245" sldId="385"/>
            <ac:spMk id="3" creationId="{3A143895-C021-9B77-FCED-853B3503F513}"/>
          </ac:spMkLst>
        </pc:spChg>
      </pc:sldChg>
      <pc:sldChg chg="addSp modSp">
        <pc:chgData name="BEAUVAIS Marie Neige" userId="S::m-neige.beauvais@francetravail.fr::b723bb87-4b14-4a8c-9a94-8bc30adbb9ac" providerId="AD" clId="Web-{216751BF-2A58-4A58-8A75-1A54C60735FE}" dt="2025-01-17T15:33:44.065" v="38" actId="20577"/>
        <pc:sldMkLst>
          <pc:docMk/>
          <pc:sldMk cId="4218527864" sldId="510"/>
        </pc:sldMkLst>
        <pc:spChg chg="add mod">
          <ac:chgData name="BEAUVAIS Marie Neige" userId="S::m-neige.beauvais@francetravail.fr::b723bb87-4b14-4a8c-9a94-8bc30adbb9ac" providerId="AD" clId="Web-{216751BF-2A58-4A58-8A75-1A54C60735FE}" dt="2025-01-17T15:33:44.065" v="38" actId="20577"/>
          <ac:spMkLst>
            <pc:docMk/>
            <pc:sldMk cId="4218527864" sldId="510"/>
            <ac:spMk id="4" creationId="{9524B55E-6662-F966-F45D-518FDE143472}"/>
          </ac:spMkLst>
        </pc:spChg>
      </pc:sldChg>
      <pc:sldChg chg="modSp">
        <pc:chgData name="BEAUVAIS Marie Neige" userId="S::m-neige.beauvais@francetravail.fr::b723bb87-4b14-4a8c-9a94-8bc30adbb9ac" providerId="AD" clId="Web-{216751BF-2A58-4A58-8A75-1A54C60735FE}" dt="2025-01-17T15:31:48.626" v="20" actId="20577"/>
        <pc:sldMkLst>
          <pc:docMk/>
          <pc:sldMk cId="1957549498" sldId="511"/>
        </pc:sldMkLst>
        <pc:spChg chg="mod">
          <ac:chgData name="BEAUVAIS Marie Neige" userId="S::m-neige.beauvais@francetravail.fr::b723bb87-4b14-4a8c-9a94-8bc30adbb9ac" providerId="AD" clId="Web-{216751BF-2A58-4A58-8A75-1A54C60735FE}" dt="2025-01-17T15:31:48.626" v="20" actId="20577"/>
          <ac:spMkLst>
            <pc:docMk/>
            <pc:sldMk cId="1957549498" sldId="511"/>
            <ac:spMk id="34" creationId="{854704F9-9974-9763-7ABA-631C64E8A0EC}"/>
          </ac:spMkLst>
        </pc:spChg>
      </pc:sldChg>
    </pc:docChg>
  </pc:docChgLst>
  <pc:docChgLst>
    <pc:chgData name="BEAUVAIS Marie Neige" userId="S::m-neige.beauvais@francetravail.fr::b723bb87-4b14-4a8c-9a94-8bc30adbb9ac" providerId="AD" clId="Web-{E3E9C040-D8DE-497C-8FBD-0FD37981B8CF}"/>
    <pc:docChg chg="modSld">
      <pc:chgData name="BEAUVAIS Marie Neige" userId="S::m-neige.beauvais@francetravail.fr::b723bb87-4b14-4a8c-9a94-8bc30adbb9ac" providerId="AD" clId="Web-{E3E9C040-D8DE-497C-8FBD-0FD37981B8CF}" dt="2025-01-20T09:04:54.996" v="35" actId="20577"/>
      <pc:docMkLst>
        <pc:docMk/>
      </pc:docMkLst>
      <pc:sldChg chg="modSp">
        <pc:chgData name="BEAUVAIS Marie Neige" userId="S::m-neige.beauvais@francetravail.fr::b723bb87-4b14-4a8c-9a94-8bc30adbb9ac" providerId="AD" clId="Web-{E3E9C040-D8DE-497C-8FBD-0FD37981B8CF}" dt="2025-01-20T09:04:35.104" v="33" actId="14100"/>
        <pc:sldMkLst>
          <pc:docMk/>
          <pc:sldMk cId="911487199" sldId="293"/>
        </pc:sldMkLst>
        <pc:spChg chg="mod">
          <ac:chgData name="BEAUVAIS Marie Neige" userId="S::m-neige.beauvais@francetravail.fr::b723bb87-4b14-4a8c-9a94-8bc30adbb9ac" providerId="AD" clId="Web-{E3E9C040-D8DE-497C-8FBD-0FD37981B8CF}" dt="2025-01-20T09:04:35.104" v="33" actId="14100"/>
          <ac:spMkLst>
            <pc:docMk/>
            <pc:sldMk cId="911487199" sldId="293"/>
            <ac:spMk id="25" creationId="{39BBE72D-F79D-ADFC-438A-63D5E1A3D5D4}"/>
          </ac:spMkLst>
        </pc:spChg>
        <pc:spChg chg="mod">
          <ac:chgData name="BEAUVAIS Marie Neige" userId="S::m-neige.beauvais@francetravail.fr::b723bb87-4b14-4a8c-9a94-8bc30adbb9ac" providerId="AD" clId="Web-{E3E9C040-D8DE-497C-8FBD-0FD37981B8CF}" dt="2025-01-20T09:03:32.475" v="26" actId="20577"/>
          <ac:spMkLst>
            <pc:docMk/>
            <pc:sldMk cId="911487199" sldId="293"/>
            <ac:spMk id="28" creationId="{C808494D-218C-CD90-22F5-14C8115769C9}"/>
          </ac:spMkLst>
        </pc:spChg>
      </pc:sldChg>
      <pc:sldChg chg="modSp">
        <pc:chgData name="BEAUVAIS Marie Neige" userId="S::m-neige.beauvais@francetravail.fr::b723bb87-4b14-4a8c-9a94-8bc30adbb9ac" providerId="AD" clId="Web-{E3E9C040-D8DE-497C-8FBD-0FD37981B8CF}" dt="2025-01-20T08:56:54.369" v="11" actId="14100"/>
        <pc:sldMkLst>
          <pc:docMk/>
          <pc:sldMk cId="4181267521" sldId="305"/>
        </pc:sldMkLst>
        <pc:spChg chg="mod">
          <ac:chgData name="BEAUVAIS Marie Neige" userId="S::m-neige.beauvais@francetravail.fr::b723bb87-4b14-4a8c-9a94-8bc30adbb9ac" providerId="AD" clId="Web-{E3E9C040-D8DE-497C-8FBD-0FD37981B8CF}" dt="2025-01-20T08:56:54.369" v="11" actId="14100"/>
          <ac:spMkLst>
            <pc:docMk/>
            <pc:sldMk cId="4181267521" sldId="305"/>
            <ac:spMk id="3" creationId="{9438D674-6A63-E4FE-C740-8C6269DFAD2A}"/>
          </ac:spMkLst>
        </pc:spChg>
        <pc:spChg chg="mod">
          <ac:chgData name="BEAUVAIS Marie Neige" userId="S::m-neige.beauvais@francetravail.fr::b723bb87-4b14-4a8c-9a94-8bc30adbb9ac" providerId="AD" clId="Web-{E3E9C040-D8DE-497C-8FBD-0FD37981B8CF}" dt="2025-01-20T08:56:32.774" v="8" actId="1076"/>
          <ac:spMkLst>
            <pc:docMk/>
            <pc:sldMk cId="4181267521" sldId="305"/>
            <ac:spMk id="5" creationId="{7836AE2C-51CF-295C-CAE5-45867BD8D4D9}"/>
          </ac:spMkLst>
        </pc:spChg>
      </pc:sldChg>
      <pc:sldChg chg="modSp">
        <pc:chgData name="BEAUVAIS Marie Neige" userId="S::m-neige.beauvais@francetravail.fr::b723bb87-4b14-4a8c-9a94-8bc30adbb9ac" providerId="AD" clId="Web-{E3E9C040-D8DE-497C-8FBD-0FD37981B8CF}" dt="2025-01-20T08:57:13.308" v="12" actId="1076"/>
        <pc:sldMkLst>
          <pc:docMk/>
          <pc:sldMk cId="134511609" sldId="338"/>
        </pc:sldMkLst>
        <pc:picChg chg="mod">
          <ac:chgData name="BEAUVAIS Marie Neige" userId="S::m-neige.beauvais@francetravail.fr::b723bb87-4b14-4a8c-9a94-8bc30adbb9ac" providerId="AD" clId="Web-{E3E9C040-D8DE-497C-8FBD-0FD37981B8CF}" dt="2025-01-20T08:57:13.308" v="12" actId="1076"/>
          <ac:picMkLst>
            <pc:docMk/>
            <pc:sldMk cId="134511609" sldId="338"/>
            <ac:picMk id="7" creationId="{00000000-0000-0000-0000-000000000000}"/>
          </ac:picMkLst>
        </pc:picChg>
      </pc:sldChg>
      <pc:sldChg chg="modSp">
        <pc:chgData name="BEAUVAIS Marie Neige" userId="S::m-neige.beauvais@francetravail.fr::b723bb87-4b14-4a8c-9a94-8bc30adbb9ac" providerId="AD" clId="Web-{E3E9C040-D8DE-497C-8FBD-0FD37981B8CF}" dt="2025-01-20T09:01:34.654" v="25" actId="20577"/>
        <pc:sldMkLst>
          <pc:docMk/>
          <pc:sldMk cId="4211477263" sldId="382"/>
        </pc:sldMkLst>
        <pc:spChg chg="mod">
          <ac:chgData name="BEAUVAIS Marie Neige" userId="S::m-neige.beauvais@francetravail.fr::b723bb87-4b14-4a8c-9a94-8bc30adbb9ac" providerId="AD" clId="Web-{E3E9C040-D8DE-497C-8FBD-0FD37981B8CF}" dt="2025-01-20T09:01:34.654" v="25" actId="20577"/>
          <ac:spMkLst>
            <pc:docMk/>
            <pc:sldMk cId="4211477263" sldId="382"/>
            <ac:spMk id="7" creationId="{7DCB8559-BA10-AAC7-A523-C7A0BEB4767A}"/>
          </ac:spMkLst>
        </pc:spChg>
      </pc:sldChg>
      <pc:sldChg chg="addSp delSp modSp">
        <pc:chgData name="BEAUVAIS Marie Neige" userId="S::m-neige.beauvais@francetravail.fr::b723bb87-4b14-4a8c-9a94-8bc30adbb9ac" providerId="AD" clId="Web-{E3E9C040-D8DE-497C-8FBD-0FD37981B8CF}" dt="2025-01-20T09:04:54.996" v="35" actId="20577"/>
        <pc:sldMkLst>
          <pc:docMk/>
          <pc:sldMk cId="580080682" sldId="386"/>
        </pc:sldMkLst>
        <pc:spChg chg="add del mod">
          <ac:chgData name="BEAUVAIS Marie Neige" userId="S::m-neige.beauvais@francetravail.fr::b723bb87-4b14-4a8c-9a94-8bc30adbb9ac" providerId="AD" clId="Web-{E3E9C040-D8DE-497C-8FBD-0FD37981B8CF}" dt="2025-01-20T09:00:25.368" v="19"/>
          <ac:spMkLst>
            <pc:docMk/>
            <pc:sldMk cId="580080682" sldId="386"/>
            <ac:spMk id="4" creationId="{9A550CB1-F9D2-618A-274D-883D2502A3AF}"/>
          </ac:spMkLst>
        </pc:spChg>
        <pc:spChg chg="add del mod">
          <ac:chgData name="BEAUVAIS Marie Neige" userId="S::m-neige.beauvais@francetravail.fr::b723bb87-4b14-4a8c-9a94-8bc30adbb9ac" providerId="AD" clId="Web-{E3E9C040-D8DE-497C-8FBD-0FD37981B8CF}" dt="2025-01-20T09:04:54.996" v="35" actId="20577"/>
          <ac:spMkLst>
            <pc:docMk/>
            <pc:sldMk cId="580080682" sldId="386"/>
            <ac:spMk id="18" creationId="{1345707A-7307-EDB7-5761-9E787C712104}"/>
          </ac:spMkLst>
        </pc:spChg>
      </pc:sldChg>
    </pc:docChg>
  </pc:docChgLst>
  <pc:docChgLst>
    <pc:chgData name="RHIT Rodolphe" userId="b9a9a40e-f167-42bd-b733-c273c92292fb" providerId="ADAL" clId="{11BAD1FE-BF43-4FCD-9B6A-E0ED6425B79A}"/>
    <pc:docChg chg="undo custSel addSld delSld modSld modSection">
      <pc:chgData name="RHIT Rodolphe" userId="b9a9a40e-f167-42bd-b733-c273c92292fb" providerId="ADAL" clId="{11BAD1FE-BF43-4FCD-9B6A-E0ED6425B79A}" dt="2025-01-08T10:59:03.786" v="617" actId="207"/>
      <pc:docMkLst>
        <pc:docMk/>
      </pc:docMkLst>
      <pc:sldChg chg="modSp mod">
        <pc:chgData name="RHIT Rodolphe" userId="b9a9a40e-f167-42bd-b733-c273c92292fb" providerId="ADAL" clId="{11BAD1FE-BF43-4FCD-9B6A-E0ED6425B79A}" dt="2025-01-08T10:44:37.616" v="488" actId="6549"/>
        <pc:sldMkLst>
          <pc:docMk/>
          <pc:sldMk cId="911487199" sldId="293"/>
        </pc:sldMkLst>
        <pc:spChg chg="mod">
          <ac:chgData name="RHIT Rodolphe" userId="b9a9a40e-f167-42bd-b733-c273c92292fb" providerId="ADAL" clId="{11BAD1FE-BF43-4FCD-9B6A-E0ED6425B79A}" dt="2025-01-08T10:15:04.174" v="326" actId="6549"/>
          <ac:spMkLst>
            <pc:docMk/>
            <pc:sldMk cId="911487199" sldId="293"/>
            <ac:spMk id="3" creationId="{E93376B2-E3E1-B8E7-DE3C-DD06F8EBE153}"/>
          </ac:spMkLst>
        </pc:spChg>
        <pc:spChg chg="mod">
          <ac:chgData name="RHIT Rodolphe" userId="b9a9a40e-f167-42bd-b733-c273c92292fb" providerId="ADAL" clId="{11BAD1FE-BF43-4FCD-9B6A-E0ED6425B79A}" dt="2025-01-08T10:15:10.567" v="328" actId="6549"/>
          <ac:spMkLst>
            <pc:docMk/>
            <pc:sldMk cId="911487199" sldId="293"/>
            <ac:spMk id="8" creationId="{E4720CF1-F5C9-BF87-D133-155005CF5332}"/>
          </ac:spMkLst>
        </pc:spChg>
        <pc:spChg chg="mod">
          <ac:chgData name="RHIT Rodolphe" userId="b9a9a40e-f167-42bd-b733-c273c92292fb" providerId="ADAL" clId="{11BAD1FE-BF43-4FCD-9B6A-E0ED6425B79A}" dt="2025-01-08T10:44:01.166" v="468" actId="6549"/>
          <ac:spMkLst>
            <pc:docMk/>
            <pc:sldMk cId="911487199" sldId="293"/>
            <ac:spMk id="9" creationId="{2220E6EA-A46F-508A-8936-520642DF6C98}"/>
          </ac:spMkLst>
        </pc:spChg>
        <pc:spChg chg="mod">
          <ac:chgData name="RHIT Rodolphe" userId="b9a9a40e-f167-42bd-b733-c273c92292fb" providerId="ADAL" clId="{11BAD1FE-BF43-4FCD-9B6A-E0ED6425B79A}" dt="2025-01-08T10:44:15.228" v="477" actId="6549"/>
          <ac:spMkLst>
            <pc:docMk/>
            <pc:sldMk cId="911487199" sldId="293"/>
            <ac:spMk id="10" creationId="{B8090E33-672D-1A07-4D1A-30C03E3F060F}"/>
          </ac:spMkLst>
        </pc:spChg>
        <pc:spChg chg="mod">
          <ac:chgData name="RHIT Rodolphe" userId="b9a9a40e-f167-42bd-b733-c273c92292fb" providerId="ADAL" clId="{11BAD1FE-BF43-4FCD-9B6A-E0ED6425B79A}" dt="2025-01-08T10:44:21.311" v="479" actId="6549"/>
          <ac:spMkLst>
            <pc:docMk/>
            <pc:sldMk cId="911487199" sldId="293"/>
            <ac:spMk id="11" creationId="{926AAD5C-E79B-B173-8C94-4E6675C6B378}"/>
          </ac:spMkLst>
        </pc:spChg>
        <pc:spChg chg="mod">
          <ac:chgData name="RHIT Rodolphe" userId="b9a9a40e-f167-42bd-b733-c273c92292fb" providerId="ADAL" clId="{11BAD1FE-BF43-4FCD-9B6A-E0ED6425B79A}" dt="2025-01-08T10:44:26.349" v="482" actId="6549"/>
          <ac:spMkLst>
            <pc:docMk/>
            <pc:sldMk cId="911487199" sldId="293"/>
            <ac:spMk id="12" creationId="{67CE579D-1C5B-20F3-4143-5F99591811BC}"/>
          </ac:spMkLst>
        </pc:spChg>
        <pc:spChg chg="mod">
          <ac:chgData name="RHIT Rodolphe" userId="b9a9a40e-f167-42bd-b733-c273c92292fb" providerId="ADAL" clId="{11BAD1FE-BF43-4FCD-9B6A-E0ED6425B79A}" dt="2025-01-08T10:44:30.080" v="484" actId="6549"/>
          <ac:spMkLst>
            <pc:docMk/>
            <pc:sldMk cId="911487199" sldId="293"/>
            <ac:spMk id="22" creationId="{264F382B-6AFF-6450-BA50-6561C2DD96F9}"/>
          </ac:spMkLst>
        </pc:spChg>
        <pc:spChg chg="mod">
          <ac:chgData name="RHIT Rodolphe" userId="b9a9a40e-f167-42bd-b733-c273c92292fb" providerId="ADAL" clId="{11BAD1FE-BF43-4FCD-9B6A-E0ED6425B79A}" dt="2025-01-08T10:44:33.757" v="486" actId="6549"/>
          <ac:spMkLst>
            <pc:docMk/>
            <pc:sldMk cId="911487199" sldId="293"/>
            <ac:spMk id="25" creationId="{39BBE72D-F79D-ADFC-438A-63D5E1A3D5D4}"/>
          </ac:spMkLst>
        </pc:spChg>
        <pc:spChg chg="mod">
          <ac:chgData name="RHIT Rodolphe" userId="b9a9a40e-f167-42bd-b733-c273c92292fb" providerId="ADAL" clId="{11BAD1FE-BF43-4FCD-9B6A-E0ED6425B79A}" dt="2025-01-08T10:44:37.616" v="488" actId="6549"/>
          <ac:spMkLst>
            <pc:docMk/>
            <pc:sldMk cId="911487199" sldId="293"/>
            <ac:spMk id="28" creationId="{C808494D-218C-CD90-22F5-14C8115769C9}"/>
          </ac:spMkLst>
        </pc:spChg>
      </pc:sldChg>
      <pc:sldChg chg="modSp mod">
        <pc:chgData name="RHIT Rodolphe" userId="b9a9a40e-f167-42bd-b733-c273c92292fb" providerId="ADAL" clId="{11BAD1FE-BF43-4FCD-9B6A-E0ED6425B79A}" dt="2025-01-08T10:05:02.402" v="269" actId="6549"/>
        <pc:sldMkLst>
          <pc:docMk/>
          <pc:sldMk cId="24107254" sldId="294"/>
        </pc:sldMkLst>
        <pc:spChg chg="mod">
          <ac:chgData name="RHIT Rodolphe" userId="b9a9a40e-f167-42bd-b733-c273c92292fb" providerId="ADAL" clId="{11BAD1FE-BF43-4FCD-9B6A-E0ED6425B79A}" dt="2025-01-08T10:05:02.402" v="269" actId="6549"/>
          <ac:spMkLst>
            <pc:docMk/>
            <pc:sldMk cId="24107254" sldId="294"/>
            <ac:spMk id="8" creationId="{DFC78B8D-49A4-3A01-0E77-198089AEB6F7}"/>
          </ac:spMkLst>
        </pc:spChg>
      </pc:sldChg>
      <pc:sldChg chg="add del">
        <pc:chgData name="RHIT Rodolphe" userId="b9a9a40e-f167-42bd-b733-c273c92292fb" providerId="ADAL" clId="{11BAD1FE-BF43-4FCD-9B6A-E0ED6425B79A}" dt="2025-01-08T09:45:17.527" v="18" actId="2696"/>
        <pc:sldMkLst>
          <pc:docMk/>
          <pc:sldMk cId="1693881078" sldId="296"/>
        </pc:sldMkLst>
      </pc:sldChg>
      <pc:sldChg chg="modSp mod">
        <pc:chgData name="RHIT Rodolphe" userId="b9a9a40e-f167-42bd-b733-c273c92292fb" providerId="ADAL" clId="{11BAD1FE-BF43-4FCD-9B6A-E0ED6425B79A}" dt="2025-01-08T09:59:38.600" v="241" actId="6549"/>
        <pc:sldMkLst>
          <pc:docMk/>
          <pc:sldMk cId="2935016266" sldId="300"/>
        </pc:sldMkLst>
        <pc:spChg chg="mod">
          <ac:chgData name="RHIT Rodolphe" userId="b9a9a40e-f167-42bd-b733-c273c92292fb" providerId="ADAL" clId="{11BAD1FE-BF43-4FCD-9B6A-E0ED6425B79A}" dt="2025-01-08T09:59:38.600" v="241" actId="6549"/>
          <ac:spMkLst>
            <pc:docMk/>
            <pc:sldMk cId="2935016266" sldId="300"/>
            <ac:spMk id="4" creationId="{96D756D4-3CB3-5ACA-A9E4-26D7A3EB09B8}"/>
          </ac:spMkLst>
        </pc:spChg>
      </pc:sldChg>
      <pc:sldChg chg="addSp delSp modSp add mod">
        <pc:chgData name="RHIT Rodolphe" userId="b9a9a40e-f167-42bd-b733-c273c92292fb" providerId="ADAL" clId="{11BAD1FE-BF43-4FCD-9B6A-E0ED6425B79A}" dt="2025-01-08T10:11:31.411" v="300"/>
        <pc:sldMkLst>
          <pc:docMk/>
          <pc:sldMk cId="134511609" sldId="338"/>
        </pc:sldMkLst>
        <pc:inkChg chg="add del">
          <ac:chgData name="RHIT Rodolphe" userId="b9a9a40e-f167-42bd-b733-c273c92292fb" providerId="ADAL" clId="{11BAD1FE-BF43-4FCD-9B6A-E0ED6425B79A}" dt="2025-01-08T10:09:47.107" v="275"/>
          <ac:inkMkLst>
            <pc:docMk/>
            <pc:sldMk cId="134511609" sldId="338"/>
            <ac:inkMk id="3" creationId="{0C6015E3-8CFE-656B-6E92-B9EC0F57037B}"/>
          </ac:inkMkLst>
        </pc:inkChg>
        <pc:inkChg chg="add del">
          <ac:chgData name="RHIT Rodolphe" userId="b9a9a40e-f167-42bd-b733-c273c92292fb" providerId="ADAL" clId="{11BAD1FE-BF43-4FCD-9B6A-E0ED6425B79A}" dt="2025-01-08T10:11:02.820" v="293"/>
          <ac:inkMkLst>
            <pc:docMk/>
            <pc:sldMk cId="134511609" sldId="338"/>
            <ac:inkMk id="4" creationId="{699C050E-41CF-15B6-B403-AF4B22A59593}"/>
          </ac:inkMkLst>
        </pc:inkChg>
        <pc:inkChg chg="add del">
          <ac:chgData name="RHIT Rodolphe" userId="b9a9a40e-f167-42bd-b733-c273c92292fb" providerId="ADAL" clId="{11BAD1FE-BF43-4FCD-9B6A-E0ED6425B79A}" dt="2025-01-08T10:09:56.329" v="277"/>
          <ac:inkMkLst>
            <pc:docMk/>
            <pc:sldMk cId="134511609" sldId="338"/>
            <ac:inkMk id="8" creationId="{B96E4B10-E525-7DD8-8782-0F4B3F1ACB6D}"/>
          </ac:inkMkLst>
        </pc:inkChg>
        <pc:inkChg chg="add mod">
          <ac:chgData name="RHIT Rodolphe" userId="b9a9a40e-f167-42bd-b733-c273c92292fb" providerId="ADAL" clId="{11BAD1FE-BF43-4FCD-9B6A-E0ED6425B79A}" dt="2025-01-08T10:10:06.615" v="278"/>
          <ac:inkMkLst>
            <pc:docMk/>
            <pc:sldMk cId="134511609" sldId="338"/>
            <ac:inkMk id="9" creationId="{04AF861D-D738-8ED4-B64E-29182EB7A79B}"/>
          </ac:inkMkLst>
        </pc:inkChg>
        <pc:inkChg chg="add del">
          <ac:chgData name="RHIT Rodolphe" userId="b9a9a40e-f167-42bd-b733-c273c92292fb" providerId="ADAL" clId="{11BAD1FE-BF43-4FCD-9B6A-E0ED6425B79A}" dt="2025-01-08T10:10:12.754" v="280"/>
          <ac:inkMkLst>
            <pc:docMk/>
            <pc:sldMk cId="134511609" sldId="338"/>
            <ac:inkMk id="10" creationId="{0E34ABA7-05DB-4657-E43C-D9EEB57C0764}"/>
          </ac:inkMkLst>
        </pc:inkChg>
        <pc:inkChg chg="add del mod">
          <ac:chgData name="RHIT Rodolphe" userId="b9a9a40e-f167-42bd-b733-c273c92292fb" providerId="ADAL" clId="{11BAD1FE-BF43-4FCD-9B6A-E0ED6425B79A}" dt="2025-01-08T10:11:02.819" v="291"/>
          <ac:inkMkLst>
            <pc:docMk/>
            <pc:sldMk cId="134511609" sldId="338"/>
            <ac:inkMk id="11" creationId="{8C0A46F6-6DA5-C5DF-E920-CA3B6152CDC3}"/>
          </ac:inkMkLst>
        </pc:inkChg>
        <pc:inkChg chg="add del">
          <ac:chgData name="RHIT Rodolphe" userId="b9a9a40e-f167-42bd-b733-c273c92292fb" providerId="ADAL" clId="{11BAD1FE-BF43-4FCD-9B6A-E0ED6425B79A}" dt="2025-01-08T10:10:20.375" v="283"/>
          <ac:inkMkLst>
            <pc:docMk/>
            <pc:sldMk cId="134511609" sldId="338"/>
            <ac:inkMk id="12" creationId="{EE8FA942-1192-61F0-2A25-6626E692C381}"/>
          </ac:inkMkLst>
        </pc:inkChg>
        <pc:inkChg chg="add mod">
          <ac:chgData name="RHIT Rodolphe" userId="b9a9a40e-f167-42bd-b733-c273c92292fb" providerId="ADAL" clId="{11BAD1FE-BF43-4FCD-9B6A-E0ED6425B79A}" dt="2025-01-08T10:10:26.380" v="284"/>
          <ac:inkMkLst>
            <pc:docMk/>
            <pc:sldMk cId="134511609" sldId="338"/>
            <ac:inkMk id="13" creationId="{FD6E85B7-B459-B130-D8C9-4D2423F9A17C}"/>
          </ac:inkMkLst>
        </pc:inkChg>
        <pc:inkChg chg="add del">
          <ac:chgData name="RHIT Rodolphe" userId="b9a9a40e-f167-42bd-b733-c273c92292fb" providerId="ADAL" clId="{11BAD1FE-BF43-4FCD-9B6A-E0ED6425B79A}" dt="2025-01-08T10:10:34.352" v="286"/>
          <ac:inkMkLst>
            <pc:docMk/>
            <pc:sldMk cId="134511609" sldId="338"/>
            <ac:inkMk id="14" creationId="{350647F7-BBCC-0625-2DF4-EA0F434B2CD2}"/>
          </ac:inkMkLst>
        </pc:inkChg>
        <pc:inkChg chg="add mod">
          <ac:chgData name="RHIT Rodolphe" userId="b9a9a40e-f167-42bd-b733-c273c92292fb" providerId="ADAL" clId="{11BAD1FE-BF43-4FCD-9B6A-E0ED6425B79A}" dt="2025-01-08T10:10:41.023" v="287"/>
          <ac:inkMkLst>
            <pc:docMk/>
            <pc:sldMk cId="134511609" sldId="338"/>
            <ac:inkMk id="15" creationId="{1A8EA682-255F-8C58-EAD0-8A92EB207E71}"/>
          </ac:inkMkLst>
        </pc:inkChg>
        <pc:inkChg chg="add">
          <ac:chgData name="RHIT Rodolphe" userId="b9a9a40e-f167-42bd-b733-c273c92292fb" providerId="ADAL" clId="{11BAD1FE-BF43-4FCD-9B6A-E0ED6425B79A}" dt="2025-01-08T10:10:47.120" v="288" actId="9405"/>
          <ac:inkMkLst>
            <pc:docMk/>
            <pc:sldMk cId="134511609" sldId="338"/>
            <ac:inkMk id="16" creationId="{904DF518-6E54-E67C-9F4E-03451244EE9F}"/>
          </ac:inkMkLst>
        </pc:inkChg>
        <pc:inkChg chg="add del">
          <ac:chgData name="RHIT Rodolphe" userId="b9a9a40e-f167-42bd-b733-c273c92292fb" providerId="ADAL" clId="{11BAD1FE-BF43-4FCD-9B6A-E0ED6425B79A}" dt="2025-01-08T10:11:02.821" v="294"/>
          <ac:inkMkLst>
            <pc:docMk/>
            <pc:sldMk cId="134511609" sldId="338"/>
            <ac:inkMk id="17" creationId="{C5661840-B02B-F188-D965-FE3A4C1BCAF3}"/>
          </ac:inkMkLst>
        </pc:inkChg>
        <pc:inkChg chg="add del">
          <ac:chgData name="RHIT Rodolphe" userId="b9a9a40e-f167-42bd-b733-c273c92292fb" providerId="ADAL" clId="{11BAD1FE-BF43-4FCD-9B6A-E0ED6425B79A}" dt="2025-01-08T10:11:02.820" v="292"/>
          <ac:inkMkLst>
            <pc:docMk/>
            <pc:sldMk cId="134511609" sldId="338"/>
            <ac:inkMk id="18" creationId="{3EA18AF3-F5F4-CCF0-85CA-CA43058D86A7}"/>
          </ac:inkMkLst>
        </pc:inkChg>
        <pc:inkChg chg="add del">
          <ac:chgData name="RHIT Rodolphe" userId="b9a9a40e-f167-42bd-b733-c273c92292fb" providerId="ADAL" clId="{11BAD1FE-BF43-4FCD-9B6A-E0ED6425B79A}" dt="2025-01-08T10:11:19.571" v="296"/>
          <ac:inkMkLst>
            <pc:docMk/>
            <pc:sldMk cId="134511609" sldId="338"/>
            <ac:inkMk id="19" creationId="{6A3B322A-1A97-F4C7-C99D-2246243DCC58}"/>
          </ac:inkMkLst>
        </pc:inkChg>
        <pc:inkChg chg="add mod">
          <ac:chgData name="RHIT Rodolphe" userId="b9a9a40e-f167-42bd-b733-c273c92292fb" providerId="ADAL" clId="{11BAD1FE-BF43-4FCD-9B6A-E0ED6425B79A}" dt="2025-01-08T10:11:23.185" v="297"/>
          <ac:inkMkLst>
            <pc:docMk/>
            <pc:sldMk cId="134511609" sldId="338"/>
            <ac:inkMk id="20" creationId="{BD362CC7-4CB7-B930-CF05-49B6D93E5124}"/>
          </ac:inkMkLst>
        </pc:inkChg>
        <pc:inkChg chg="add del">
          <ac:chgData name="RHIT Rodolphe" userId="b9a9a40e-f167-42bd-b733-c273c92292fb" providerId="ADAL" clId="{11BAD1FE-BF43-4FCD-9B6A-E0ED6425B79A}" dt="2025-01-08T10:11:27.847" v="299"/>
          <ac:inkMkLst>
            <pc:docMk/>
            <pc:sldMk cId="134511609" sldId="338"/>
            <ac:inkMk id="21" creationId="{893063AE-8409-4F68-C544-3CFF0E77481D}"/>
          </ac:inkMkLst>
        </pc:inkChg>
        <pc:inkChg chg="add mod">
          <ac:chgData name="RHIT Rodolphe" userId="b9a9a40e-f167-42bd-b733-c273c92292fb" providerId="ADAL" clId="{11BAD1FE-BF43-4FCD-9B6A-E0ED6425B79A}" dt="2025-01-08T10:11:31.411" v="300"/>
          <ac:inkMkLst>
            <pc:docMk/>
            <pc:sldMk cId="134511609" sldId="338"/>
            <ac:inkMk id="22" creationId="{BBC58582-EE18-2881-D114-D6B4F73D7FB8}"/>
          </ac:inkMkLst>
        </pc:inkChg>
      </pc:sldChg>
      <pc:sldChg chg="addSp delSp modSp add mod">
        <pc:chgData name="RHIT Rodolphe" userId="b9a9a40e-f167-42bd-b733-c273c92292fb" providerId="ADAL" clId="{11BAD1FE-BF43-4FCD-9B6A-E0ED6425B79A}" dt="2025-01-08T10:12:16.666" v="306"/>
        <pc:sldMkLst>
          <pc:docMk/>
          <pc:sldMk cId="1025980971" sldId="339"/>
        </pc:sldMkLst>
        <pc:spChg chg="mod">
          <ac:chgData name="RHIT Rodolphe" userId="b9a9a40e-f167-42bd-b733-c273c92292fb" providerId="ADAL" clId="{11BAD1FE-BF43-4FCD-9B6A-E0ED6425B79A}" dt="2025-01-08T10:08:25.656" v="271" actId="27636"/>
          <ac:spMkLst>
            <pc:docMk/>
            <pc:sldMk cId="1025980971" sldId="339"/>
            <ac:spMk id="2" creationId="{21E72E6D-7011-9443-BFAF-C5290E782DD6}"/>
          </ac:spMkLst>
        </pc:spChg>
        <pc:spChg chg="mod">
          <ac:chgData name="RHIT Rodolphe" userId="b9a9a40e-f167-42bd-b733-c273c92292fb" providerId="ADAL" clId="{11BAD1FE-BF43-4FCD-9B6A-E0ED6425B79A}" dt="2025-01-08T10:08:25.660" v="272" actId="27636"/>
          <ac:spMkLst>
            <pc:docMk/>
            <pc:sldMk cId="1025980971" sldId="339"/>
            <ac:spMk id="6" creationId="{1B72E111-986F-294B-8CAE-BA101B19EB4F}"/>
          </ac:spMkLst>
        </pc:spChg>
        <pc:inkChg chg="add del">
          <ac:chgData name="RHIT Rodolphe" userId="b9a9a40e-f167-42bd-b733-c273c92292fb" providerId="ADAL" clId="{11BAD1FE-BF43-4FCD-9B6A-E0ED6425B79A}" dt="2025-01-08T10:11:55.521" v="302"/>
          <ac:inkMkLst>
            <pc:docMk/>
            <pc:sldMk cId="1025980971" sldId="339"/>
            <ac:inkMk id="3" creationId="{9548D005-9047-2AA8-71E6-E21E126E56A9}"/>
          </ac:inkMkLst>
        </pc:inkChg>
        <pc:inkChg chg="add mod">
          <ac:chgData name="RHIT Rodolphe" userId="b9a9a40e-f167-42bd-b733-c273c92292fb" providerId="ADAL" clId="{11BAD1FE-BF43-4FCD-9B6A-E0ED6425B79A}" dt="2025-01-08T10:12:00.745" v="303"/>
          <ac:inkMkLst>
            <pc:docMk/>
            <pc:sldMk cId="1025980971" sldId="339"/>
            <ac:inkMk id="4" creationId="{7FB8E61A-1033-772D-D113-46B1ED949F57}"/>
          </ac:inkMkLst>
        </pc:inkChg>
        <pc:inkChg chg="add del">
          <ac:chgData name="RHIT Rodolphe" userId="b9a9a40e-f167-42bd-b733-c273c92292fb" providerId="ADAL" clId="{11BAD1FE-BF43-4FCD-9B6A-E0ED6425B79A}" dt="2025-01-08T10:12:11.060" v="305"/>
          <ac:inkMkLst>
            <pc:docMk/>
            <pc:sldMk cId="1025980971" sldId="339"/>
            <ac:inkMk id="7" creationId="{FD85E573-9B93-E4CB-73DE-BA03AFFAE69C}"/>
          </ac:inkMkLst>
        </pc:inkChg>
        <pc:inkChg chg="add mod">
          <ac:chgData name="RHIT Rodolphe" userId="b9a9a40e-f167-42bd-b733-c273c92292fb" providerId="ADAL" clId="{11BAD1FE-BF43-4FCD-9B6A-E0ED6425B79A}" dt="2025-01-08T10:12:16.666" v="306"/>
          <ac:inkMkLst>
            <pc:docMk/>
            <pc:sldMk cId="1025980971" sldId="339"/>
            <ac:inkMk id="9" creationId="{3F767081-C242-EC9D-3C5C-987945C7EBAE}"/>
          </ac:inkMkLst>
        </pc:inkChg>
      </pc:sldChg>
      <pc:sldChg chg="modSp mod">
        <pc:chgData name="RHIT Rodolphe" userId="b9a9a40e-f167-42bd-b733-c273c92292fb" providerId="ADAL" clId="{11BAD1FE-BF43-4FCD-9B6A-E0ED6425B79A}" dt="2025-01-08T10:59:03.786" v="617" actId="207"/>
        <pc:sldMkLst>
          <pc:docMk/>
          <pc:sldMk cId="2159442685" sldId="374"/>
        </pc:sldMkLst>
        <pc:spChg chg="mod">
          <ac:chgData name="RHIT Rodolphe" userId="b9a9a40e-f167-42bd-b733-c273c92292fb" providerId="ADAL" clId="{11BAD1FE-BF43-4FCD-9B6A-E0ED6425B79A}" dt="2025-01-08T10:59:03.786" v="617" actId="207"/>
          <ac:spMkLst>
            <pc:docMk/>
            <pc:sldMk cId="2159442685" sldId="374"/>
            <ac:spMk id="11" creationId="{623E6B1A-A71B-CD9E-1E1B-D2E01FF297D7}"/>
          </ac:spMkLst>
        </pc:spChg>
      </pc:sldChg>
      <pc:sldChg chg="modSp mod">
        <pc:chgData name="RHIT Rodolphe" userId="b9a9a40e-f167-42bd-b733-c273c92292fb" providerId="ADAL" clId="{11BAD1FE-BF43-4FCD-9B6A-E0ED6425B79A}" dt="2025-01-08T09:59:11.078" v="199" actId="6549"/>
        <pc:sldMkLst>
          <pc:docMk/>
          <pc:sldMk cId="4211477263" sldId="382"/>
        </pc:sldMkLst>
        <pc:spChg chg="mod">
          <ac:chgData name="RHIT Rodolphe" userId="b9a9a40e-f167-42bd-b733-c273c92292fb" providerId="ADAL" clId="{11BAD1FE-BF43-4FCD-9B6A-E0ED6425B79A}" dt="2025-01-08T09:54:00.775" v="173" actId="20577"/>
          <ac:spMkLst>
            <pc:docMk/>
            <pc:sldMk cId="4211477263" sldId="382"/>
            <ac:spMk id="4" creationId="{508627DA-523C-CDE9-4ACA-9B8E5E6C930C}"/>
          </ac:spMkLst>
        </pc:spChg>
        <pc:spChg chg="mod">
          <ac:chgData name="RHIT Rodolphe" userId="b9a9a40e-f167-42bd-b733-c273c92292fb" providerId="ADAL" clId="{11BAD1FE-BF43-4FCD-9B6A-E0ED6425B79A}" dt="2025-01-08T09:59:11.078" v="199" actId="6549"/>
          <ac:spMkLst>
            <pc:docMk/>
            <pc:sldMk cId="4211477263" sldId="382"/>
            <ac:spMk id="10" creationId="{134383E2-3884-F615-71C9-B7DB54EF2A93}"/>
          </ac:spMkLst>
        </pc:spChg>
        <pc:spChg chg="mod">
          <ac:chgData name="RHIT Rodolphe" userId="b9a9a40e-f167-42bd-b733-c273c92292fb" providerId="ADAL" clId="{11BAD1FE-BF43-4FCD-9B6A-E0ED6425B79A}" dt="2025-01-08T09:58:29.973" v="182" actId="1076"/>
          <ac:spMkLst>
            <pc:docMk/>
            <pc:sldMk cId="4211477263" sldId="382"/>
            <ac:spMk id="15" creationId="{678418C6-E26C-E532-5862-B47283C09517}"/>
          </ac:spMkLst>
        </pc:spChg>
        <pc:spChg chg="mod">
          <ac:chgData name="RHIT Rodolphe" userId="b9a9a40e-f167-42bd-b733-c273c92292fb" providerId="ADAL" clId="{11BAD1FE-BF43-4FCD-9B6A-E0ED6425B79A}" dt="2025-01-08T09:54:31.410" v="175" actId="1076"/>
          <ac:spMkLst>
            <pc:docMk/>
            <pc:sldMk cId="4211477263" sldId="382"/>
            <ac:spMk id="18" creationId="{4A01264B-D5D9-EC51-9D91-EE1D12F2BC13}"/>
          </ac:spMkLst>
        </pc:spChg>
      </pc:sldChg>
      <pc:sldChg chg="modSp add mod">
        <pc:chgData name="RHIT Rodolphe" userId="b9a9a40e-f167-42bd-b733-c273c92292fb" providerId="ADAL" clId="{11BAD1FE-BF43-4FCD-9B6A-E0ED6425B79A}" dt="2025-01-08T10:03:59.790" v="254" actId="6549"/>
        <pc:sldMkLst>
          <pc:docMk/>
          <pc:sldMk cId="1374082767" sldId="448"/>
        </pc:sldMkLst>
        <pc:spChg chg="mod">
          <ac:chgData name="RHIT Rodolphe" userId="b9a9a40e-f167-42bd-b733-c273c92292fb" providerId="ADAL" clId="{11BAD1FE-BF43-4FCD-9B6A-E0ED6425B79A}" dt="2025-01-08T10:03:59.790" v="254" actId="6549"/>
          <ac:spMkLst>
            <pc:docMk/>
            <pc:sldMk cId="1374082767" sldId="448"/>
            <ac:spMk id="2" creationId="{00000000-0000-0000-0000-000000000000}"/>
          </ac:spMkLst>
        </pc:spChg>
      </pc:sldChg>
    </pc:docChg>
  </pc:docChgLst>
  <pc:docChgLst>
    <pc:chgData name="RHIT Rodolphe" userId="S::rodolphe.rhit@francetravail.fr::b9a9a40e-f167-42bd-b733-c273c92292fb" providerId="AD" clId="Web-{4EE1C196-31D6-70F6-0846-2667727CB758}"/>
    <pc:docChg chg="modSld">
      <pc:chgData name="RHIT Rodolphe" userId="S::rodolphe.rhit@francetravail.fr::b9a9a40e-f167-42bd-b733-c273c92292fb" providerId="AD" clId="Web-{4EE1C196-31D6-70F6-0846-2667727CB758}" dt="2025-01-20T11:10:24.680" v="52" actId="1076"/>
      <pc:docMkLst>
        <pc:docMk/>
      </pc:docMkLst>
      <pc:sldChg chg="modSp">
        <pc:chgData name="RHIT Rodolphe" userId="S::rodolphe.rhit@francetravail.fr::b9a9a40e-f167-42bd-b733-c273c92292fb" providerId="AD" clId="Web-{4EE1C196-31D6-70F6-0846-2667727CB758}" dt="2025-01-20T11:10:24.680" v="52" actId="1076"/>
        <pc:sldMkLst>
          <pc:docMk/>
          <pc:sldMk cId="4211477263" sldId="382"/>
        </pc:sldMkLst>
        <pc:spChg chg="mod">
          <ac:chgData name="RHIT Rodolphe" userId="S::rodolphe.rhit@francetravail.fr::b9a9a40e-f167-42bd-b733-c273c92292fb" providerId="AD" clId="Web-{4EE1C196-31D6-70F6-0846-2667727CB758}" dt="2025-01-20T11:10:10.024" v="50" actId="20577"/>
          <ac:spMkLst>
            <pc:docMk/>
            <pc:sldMk cId="4211477263" sldId="382"/>
            <ac:spMk id="7" creationId="{7DCB8559-BA10-AAC7-A523-C7A0BEB4767A}"/>
          </ac:spMkLst>
        </pc:spChg>
        <pc:spChg chg="mod">
          <ac:chgData name="RHIT Rodolphe" userId="S::rodolphe.rhit@francetravail.fr::b9a9a40e-f167-42bd-b733-c273c92292fb" providerId="AD" clId="Web-{4EE1C196-31D6-70F6-0846-2667727CB758}" dt="2025-01-20T11:09:54.680" v="38" actId="20577"/>
          <ac:spMkLst>
            <pc:docMk/>
            <pc:sldMk cId="4211477263" sldId="382"/>
            <ac:spMk id="10" creationId="{134383E2-3884-F615-71C9-B7DB54EF2A93}"/>
          </ac:spMkLst>
        </pc:spChg>
        <pc:spChg chg="mod">
          <ac:chgData name="RHIT Rodolphe" userId="S::rodolphe.rhit@francetravail.fr::b9a9a40e-f167-42bd-b733-c273c92292fb" providerId="AD" clId="Web-{4EE1C196-31D6-70F6-0846-2667727CB758}" dt="2025-01-20T11:10:24.680" v="52" actId="1076"/>
          <ac:spMkLst>
            <pc:docMk/>
            <pc:sldMk cId="4211477263" sldId="382"/>
            <ac:spMk id="15" creationId="{678418C6-E26C-E532-5862-B47283C09517}"/>
          </ac:spMkLst>
        </pc:spChg>
      </pc:sldChg>
      <pc:sldChg chg="modSp">
        <pc:chgData name="RHIT Rodolphe" userId="S::rodolphe.rhit@francetravail.fr::b9a9a40e-f167-42bd-b733-c273c92292fb" providerId="AD" clId="Web-{4EE1C196-31D6-70F6-0846-2667727CB758}" dt="2025-01-20T11:08:10.397" v="22" actId="20577"/>
        <pc:sldMkLst>
          <pc:docMk/>
          <pc:sldMk cId="4218527864" sldId="510"/>
        </pc:sldMkLst>
        <pc:spChg chg="mod">
          <ac:chgData name="RHIT Rodolphe" userId="S::rodolphe.rhit@francetravail.fr::b9a9a40e-f167-42bd-b733-c273c92292fb" providerId="AD" clId="Web-{4EE1C196-31D6-70F6-0846-2667727CB758}" dt="2025-01-20T11:08:10.397" v="22" actId="20577"/>
          <ac:spMkLst>
            <pc:docMk/>
            <pc:sldMk cId="4218527864" sldId="510"/>
            <ac:spMk id="5" creationId="{D078F1F5-7C89-FB42-F6DE-848CC20AD917}"/>
          </ac:spMkLst>
        </pc:spChg>
      </pc:sldChg>
    </pc:docChg>
  </pc:docChgLst>
  <pc:docChgLst>
    <pc:chgData name="RHIT Rodolphe" userId="S::rodolphe.rhit@francetravail.fr::b9a9a40e-f167-42bd-b733-c273c92292fb" providerId="AD" clId="Web-{A56815A6-EA5B-4A3E-BE79-8ACF58D43305}"/>
    <pc:docChg chg="modSld">
      <pc:chgData name="RHIT Rodolphe" userId="S::rodolphe.rhit@francetravail.fr::b9a9a40e-f167-42bd-b733-c273c92292fb" providerId="AD" clId="Web-{A56815A6-EA5B-4A3E-BE79-8ACF58D43305}" dt="2025-01-14T10:10:59.028" v="62"/>
      <pc:docMkLst>
        <pc:docMk/>
      </pc:docMkLst>
      <pc:sldChg chg="addSp delSp modSp">
        <pc:chgData name="RHIT Rodolphe" userId="S::rodolphe.rhit@francetravail.fr::b9a9a40e-f167-42bd-b733-c273c92292fb" providerId="AD" clId="Web-{A56815A6-EA5B-4A3E-BE79-8ACF58D43305}" dt="2025-01-14T10:10:59.028" v="62"/>
        <pc:sldMkLst>
          <pc:docMk/>
          <pc:sldMk cId="1108628652" sldId="376"/>
        </pc:sldMkLst>
        <pc:spChg chg="add mod">
          <ac:chgData name="RHIT Rodolphe" userId="S::rodolphe.rhit@francetravail.fr::b9a9a40e-f167-42bd-b733-c273c92292fb" providerId="AD" clId="Web-{A56815A6-EA5B-4A3E-BE79-8ACF58D43305}" dt="2025-01-14T10:06:47.018" v="52" actId="20577"/>
          <ac:spMkLst>
            <pc:docMk/>
            <pc:sldMk cId="1108628652" sldId="376"/>
            <ac:spMk id="42" creationId="{C5A8FCE0-D9A4-1F3B-507B-A8F65E8D2CC5}"/>
          </ac:spMkLst>
        </pc:spChg>
        <pc:spChg chg="add del">
          <ac:chgData name="RHIT Rodolphe" userId="S::rodolphe.rhit@francetravail.fr::b9a9a40e-f167-42bd-b733-c273c92292fb" providerId="AD" clId="Web-{A56815A6-EA5B-4A3E-BE79-8ACF58D43305}" dt="2025-01-14T10:09:33.243" v="54"/>
          <ac:spMkLst>
            <pc:docMk/>
            <pc:sldMk cId="1108628652" sldId="376"/>
            <ac:spMk id="43" creationId="{0BA55A98-CE54-359E-D0D1-260188788431}"/>
          </ac:spMkLst>
        </pc:spChg>
        <pc:inkChg chg="add del">
          <ac:chgData name="RHIT Rodolphe" userId="S::rodolphe.rhit@francetravail.fr::b9a9a40e-f167-42bd-b733-c273c92292fb" providerId="AD" clId="Web-{A56815A6-EA5B-4A3E-BE79-8ACF58D43305}" dt="2025-01-14T10:02:14.804" v="1"/>
          <ac:inkMkLst>
            <pc:docMk/>
            <pc:sldMk cId="1108628652" sldId="376"/>
            <ac:inkMk id="4" creationId="{B7A0952A-A1C9-40C0-AA30-82D8B94169F5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03:55.402" v="9"/>
          <ac:inkMkLst>
            <pc:docMk/>
            <pc:sldMk cId="1108628652" sldId="376"/>
            <ac:inkMk id="5" creationId="{2956DC8B-2C3D-BCFE-CE25-D94DDEFF02D2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2:39.477" v="3"/>
          <ac:inkMkLst>
            <pc:docMk/>
            <pc:sldMk cId="1108628652" sldId="376"/>
            <ac:inkMk id="6" creationId="{FF261940-EBE4-E571-3808-7FFBEC68D72E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2:52.384" v="4"/>
          <ac:inkMkLst>
            <pc:docMk/>
            <pc:sldMk cId="1108628652" sldId="376"/>
            <ac:inkMk id="7" creationId="{9B08114A-AB8F-F908-B9C3-38CF90566651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2:56.337" v="5"/>
          <ac:inkMkLst>
            <pc:docMk/>
            <pc:sldMk cId="1108628652" sldId="376"/>
            <ac:inkMk id="8" creationId="{6671C2DA-E2C1-487E-A830-2EC86F1D30C5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3:05.197" v="6"/>
          <ac:inkMkLst>
            <pc:docMk/>
            <pc:sldMk cId="1108628652" sldId="376"/>
            <ac:inkMk id="9" creationId="{DDE28B94-B1F6-FE88-37E7-34DC440ED507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3:12.650" v="7"/>
          <ac:inkMkLst>
            <pc:docMk/>
            <pc:sldMk cId="1108628652" sldId="376"/>
            <ac:inkMk id="11" creationId="{599D974B-2BC3-6E8F-F521-46C273B2CCF9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3:48.683" v="8"/>
          <ac:inkMkLst>
            <pc:docMk/>
            <pc:sldMk cId="1108628652" sldId="376"/>
            <ac:inkMk id="32" creationId="{A0818F83-FD76-A817-1C40-85B111567A6D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04:05.215" v="10"/>
          <ac:inkMkLst>
            <pc:docMk/>
            <pc:sldMk cId="1108628652" sldId="376"/>
            <ac:inkMk id="39" creationId="{F63B4E52-5B34-D813-C0A8-2ED875F2B4EC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10:03.885" v="55"/>
          <ac:inkMkLst>
            <pc:docMk/>
            <pc:sldMk cId="1108628652" sldId="376"/>
            <ac:inkMk id="40" creationId="{6023ED2A-71C6-8CCD-B81F-CF31AB581C9C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04:33.434" v="13"/>
          <ac:inkMkLst>
            <pc:docMk/>
            <pc:sldMk cId="1108628652" sldId="376"/>
            <ac:inkMk id="41" creationId="{88A45B13-5FB7-E10E-4E7A-9251F8F3C6F8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10:48.402" v="61"/>
          <ac:inkMkLst>
            <pc:docMk/>
            <pc:sldMk cId="1108628652" sldId="376"/>
            <ac:inkMk id="44" creationId="{AEA507C1-5B1F-EE21-E471-048F4AAB97A0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10:48.402" v="60"/>
          <ac:inkMkLst>
            <pc:docMk/>
            <pc:sldMk cId="1108628652" sldId="376"/>
            <ac:inkMk id="45" creationId="{6BE87F3C-3193-8E79-3290-871FDEA81A02}"/>
          </ac:inkMkLst>
        </pc:inkChg>
        <pc:inkChg chg="add del">
          <ac:chgData name="RHIT Rodolphe" userId="S::rodolphe.rhit@francetravail.fr::b9a9a40e-f167-42bd-b733-c273c92292fb" providerId="AD" clId="Web-{A56815A6-EA5B-4A3E-BE79-8ACF58D43305}" dt="2025-01-14T10:10:48.402" v="59"/>
          <ac:inkMkLst>
            <pc:docMk/>
            <pc:sldMk cId="1108628652" sldId="376"/>
            <ac:inkMk id="46" creationId="{1D2E24AE-BDC7-F61B-6192-4A6E9E880C3E}"/>
          </ac:inkMkLst>
        </pc:inkChg>
        <pc:inkChg chg="add">
          <ac:chgData name="RHIT Rodolphe" userId="S::rodolphe.rhit@francetravail.fr::b9a9a40e-f167-42bd-b733-c273c92292fb" providerId="AD" clId="Web-{A56815A6-EA5B-4A3E-BE79-8ACF58D43305}" dt="2025-01-14T10:10:59.028" v="62"/>
          <ac:inkMkLst>
            <pc:docMk/>
            <pc:sldMk cId="1108628652" sldId="376"/>
            <ac:inkMk id="47" creationId="{3F22B5CA-064E-5D47-BBBD-A1AD24806D41}"/>
          </ac:inkMkLst>
        </pc:inkChg>
      </pc:sldChg>
    </pc:docChg>
  </pc:docChgLst>
  <pc:docChgLst>
    <pc:chgData name="BEAUVAIS Marie Neige" userId="S::m-neige.beauvais@francetravail.fr::b723bb87-4b14-4a8c-9a94-8bc30adbb9ac" providerId="AD" clId="Web-{5BAB0E37-E542-40D3-ACE3-56A06E561BA2}"/>
    <pc:docChg chg="addSld delSld modSld sldOrd addMainMaster modSection">
      <pc:chgData name="BEAUVAIS Marie Neige" userId="S::m-neige.beauvais@francetravail.fr::b723bb87-4b14-4a8c-9a94-8bc30adbb9ac" providerId="AD" clId="Web-{5BAB0E37-E542-40D3-ACE3-56A06E561BA2}" dt="2025-01-16T15:37:20.344" v="158" actId="20577"/>
      <pc:docMkLst>
        <pc:docMk/>
      </pc:docMkLst>
      <pc:sldChg chg="modSp">
        <pc:chgData name="BEAUVAIS Marie Neige" userId="S::m-neige.beauvais@francetravail.fr::b723bb87-4b14-4a8c-9a94-8bc30adbb9ac" providerId="AD" clId="Web-{5BAB0E37-E542-40D3-ACE3-56A06E561BA2}" dt="2025-01-16T15:23:34.487" v="125" actId="14100"/>
        <pc:sldMkLst>
          <pc:docMk/>
          <pc:sldMk cId="4181267521" sldId="305"/>
        </pc:sldMkLst>
        <pc:spChg chg="mod">
          <ac:chgData name="BEAUVAIS Marie Neige" userId="S::m-neige.beauvais@francetravail.fr::b723bb87-4b14-4a8c-9a94-8bc30adbb9ac" providerId="AD" clId="Web-{5BAB0E37-E542-40D3-ACE3-56A06E561BA2}" dt="2025-01-16T15:23:34.487" v="125" actId="14100"/>
          <ac:spMkLst>
            <pc:docMk/>
            <pc:sldMk cId="4181267521" sldId="305"/>
            <ac:spMk id="3" creationId="{9438D674-6A63-E4FE-C740-8C6269DFAD2A}"/>
          </ac:spMkLst>
        </pc:spChg>
        <pc:spChg chg="mod">
          <ac:chgData name="BEAUVAIS Marie Neige" userId="S::m-neige.beauvais@francetravail.fr::b723bb87-4b14-4a8c-9a94-8bc30adbb9ac" providerId="AD" clId="Web-{5BAB0E37-E542-40D3-ACE3-56A06E561BA2}" dt="2025-01-16T15:23:00.626" v="119" actId="20577"/>
          <ac:spMkLst>
            <pc:docMk/>
            <pc:sldMk cId="4181267521" sldId="305"/>
            <ac:spMk id="40" creationId="{F4035047-8278-CB16-584D-16EF3E6B3F8A}"/>
          </ac:spMkLst>
        </pc:spChg>
      </pc:sldChg>
      <pc:sldChg chg="ord">
        <pc:chgData name="BEAUVAIS Marie Neige" userId="S::m-neige.beauvais@francetravail.fr::b723bb87-4b14-4a8c-9a94-8bc30adbb9ac" providerId="AD" clId="Web-{5BAB0E37-E542-40D3-ACE3-56A06E561BA2}" dt="2025-01-16T13:24:30.303" v="4"/>
        <pc:sldMkLst>
          <pc:docMk/>
          <pc:sldMk cId="1108628652" sldId="376"/>
        </pc:sldMkLst>
      </pc:sldChg>
      <pc:sldChg chg="modSp">
        <pc:chgData name="BEAUVAIS Marie Neige" userId="S::m-neige.beauvais@francetravail.fr::b723bb87-4b14-4a8c-9a94-8bc30adbb9ac" providerId="AD" clId="Web-{5BAB0E37-E542-40D3-ACE3-56A06E561BA2}" dt="2025-01-16T15:37:20.344" v="158" actId="20577"/>
        <pc:sldMkLst>
          <pc:docMk/>
          <pc:sldMk cId="4211477263" sldId="382"/>
        </pc:sldMkLst>
        <pc:spChg chg="mod">
          <ac:chgData name="BEAUVAIS Marie Neige" userId="S::m-neige.beauvais@francetravail.fr::b723bb87-4b14-4a8c-9a94-8bc30adbb9ac" providerId="AD" clId="Web-{5BAB0E37-E542-40D3-ACE3-56A06E561BA2}" dt="2025-01-16T15:37:20.344" v="158" actId="20577"/>
          <ac:spMkLst>
            <pc:docMk/>
            <pc:sldMk cId="4211477263" sldId="382"/>
            <ac:spMk id="10" creationId="{134383E2-3884-F615-71C9-B7DB54EF2A93}"/>
          </ac:spMkLst>
        </pc:spChg>
        <pc:spChg chg="mod">
          <ac:chgData name="BEAUVAIS Marie Neige" userId="S::m-neige.beauvais@francetravail.fr::b723bb87-4b14-4a8c-9a94-8bc30adbb9ac" providerId="AD" clId="Web-{5BAB0E37-E542-40D3-ACE3-56A06E561BA2}" dt="2025-01-16T15:21:15.310" v="76" actId="14100"/>
          <ac:spMkLst>
            <pc:docMk/>
            <pc:sldMk cId="4211477263" sldId="382"/>
            <ac:spMk id="18" creationId="{4A01264B-D5D9-EC51-9D91-EE1D12F2BC13}"/>
          </ac:spMkLst>
        </pc:spChg>
      </pc:sldChg>
      <pc:sldChg chg="delSp modSp">
        <pc:chgData name="BEAUVAIS Marie Neige" userId="S::m-neige.beauvais@francetravail.fr::b723bb87-4b14-4a8c-9a94-8bc30adbb9ac" providerId="AD" clId="Web-{5BAB0E37-E542-40D3-ACE3-56A06E561BA2}" dt="2025-01-16T14:58:53.371" v="56" actId="14100"/>
        <pc:sldMkLst>
          <pc:docMk/>
          <pc:sldMk cId="1374082767" sldId="448"/>
        </pc:sldMkLst>
        <pc:spChg chg="mod">
          <ac:chgData name="BEAUVAIS Marie Neige" userId="S::m-neige.beauvais@francetravail.fr::b723bb87-4b14-4a8c-9a94-8bc30adbb9ac" providerId="AD" clId="Web-{5BAB0E37-E542-40D3-ACE3-56A06E561BA2}" dt="2025-01-16T14:58:53.371" v="56" actId="14100"/>
          <ac:spMkLst>
            <pc:docMk/>
            <pc:sldMk cId="1374082767" sldId="448"/>
            <ac:spMk id="2" creationId="{00000000-0000-0000-0000-000000000000}"/>
          </ac:spMkLst>
        </pc:spChg>
        <pc:spChg chg="del">
          <ac:chgData name="BEAUVAIS Marie Neige" userId="S::m-neige.beauvais@francetravail.fr::b723bb87-4b14-4a8c-9a94-8bc30adbb9ac" providerId="AD" clId="Web-{5BAB0E37-E542-40D3-ACE3-56A06E561BA2}" dt="2025-01-16T14:11:10.370" v="20"/>
          <ac:spMkLst>
            <pc:docMk/>
            <pc:sldMk cId="1374082767" sldId="448"/>
            <ac:spMk id="5" creationId="{CE6434D3-E947-929A-3ECC-EED0ECD2F744}"/>
          </ac:spMkLst>
        </pc:spChg>
        <pc:spChg chg="del mod">
          <ac:chgData name="BEAUVAIS Marie Neige" userId="S::m-neige.beauvais@francetravail.fr::b723bb87-4b14-4a8c-9a94-8bc30adbb9ac" providerId="AD" clId="Web-{5BAB0E37-E542-40D3-ACE3-56A06E561BA2}" dt="2025-01-16T14:11:06.682" v="18"/>
          <ac:spMkLst>
            <pc:docMk/>
            <pc:sldMk cId="1374082767" sldId="448"/>
            <ac:spMk id="7" creationId="{5DA1C59B-4083-7965-D5FE-2FAFBCACFC1F}"/>
          </ac:spMkLst>
        </pc:spChg>
        <pc:spChg chg="del mod">
          <ac:chgData name="BEAUVAIS Marie Neige" userId="S::m-neige.beauvais@francetravail.fr::b723bb87-4b14-4a8c-9a94-8bc30adbb9ac" providerId="AD" clId="Web-{5BAB0E37-E542-40D3-ACE3-56A06E561BA2}" dt="2025-01-16T14:11:07.714" v="19"/>
          <ac:spMkLst>
            <pc:docMk/>
            <pc:sldMk cId="1374082767" sldId="448"/>
            <ac:spMk id="8" creationId="{628E0BE5-3EA1-5B6B-09BA-93C59FAD33A3}"/>
          </ac:spMkLst>
        </pc:spChg>
      </pc:sldChg>
      <pc:sldChg chg="modSp">
        <pc:chgData name="BEAUVAIS Marie Neige" userId="S::m-neige.beauvais@francetravail.fr::b723bb87-4b14-4a8c-9a94-8bc30adbb9ac" providerId="AD" clId="Web-{5BAB0E37-E542-40D3-ACE3-56A06E561BA2}" dt="2025-01-16T15:25:07.162" v="150" actId="20577"/>
        <pc:sldMkLst>
          <pc:docMk/>
          <pc:sldMk cId="4218527864" sldId="510"/>
        </pc:sldMkLst>
        <pc:spChg chg="mod">
          <ac:chgData name="BEAUVAIS Marie Neige" userId="S::m-neige.beauvais@francetravail.fr::b723bb87-4b14-4a8c-9a94-8bc30adbb9ac" providerId="AD" clId="Web-{5BAB0E37-E542-40D3-ACE3-56A06E561BA2}" dt="2025-01-16T15:25:07.162" v="150" actId="20577"/>
          <ac:spMkLst>
            <pc:docMk/>
            <pc:sldMk cId="4218527864" sldId="510"/>
            <ac:spMk id="5" creationId="{D078F1F5-7C89-FB42-F6DE-848CC20AD917}"/>
          </ac:spMkLst>
        </pc:spChg>
      </pc:sldChg>
      <pc:sldChg chg="add ord">
        <pc:chgData name="BEAUVAIS Marie Neige" userId="S::m-neige.beauvais@francetravail.fr::b723bb87-4b14-4a8c-9a94-8bc30adbb9ac" providerId="AD" clId="Web-{5BAB0E37-E542-40D3-ACE3-56A06E561BA2}" dt="2025-01-16T13:24:28.678" v="3"/>
        <pc:sldMkLst>
          <pc:docMk/>
          <pc:sldMk cId="1957549498" sldId="511"/>
        </pc:sldMkLst>
      </pc:sldChg>
      <pc:sldChg chg="add del">
        <pc:chgData name="BEAUVAIS Marie Neige" userId="S::m-neige.beauvais@francetravail.fr::b723bb87-4b14-4a8c-9a94-8bc30adbb9ac" providerId="AD" clId="Web-{5BAB0E37-E542-40D3-ACE3-56A06E561BA2}" dt="2025-01-16T13:24:07.036" v="1"/>
        <pc:sldMkLst>
          <pc:docMk/>
          <pc:sldMk cId="4095613091" sldId="511"/>
        </pc:sldMkLst>
      </pc:sldChg>
      <pc:sldMasterChg chg="addSldLayout delSldLayout">
        <pc:chgData name="BEAUVAIS Marie Neige" userId="S::m-neige.beauvais@francetravail.fr::b723bb87-4b14-4a8c-9a94-8bc30adbb9ac" providerId="AD" clId="Web-{5BAB0E37-E542-40D3-ACE3-56A06E561BA2}" dt="2025-01-16T13:24:07.036" v="1"/>
        <pc:sldMasterMkLst>
          <pc:docMk/>
          <pc:sldMasterMk cId="4148661436" sldId="2147483694"/>
        </pc:sldMasterMkLst>
        <pc:sldLayoutChg chg="add del replId">
          <pc:chgData name="BEAUVAIS Marie Neige" userId="S::m-neige.beauvais@francetravail.fr::b723bb87-4b14-4a8c-9a94-8bc30adbb9ac" providerId="AD" clId="Web-{5BAB0E37-E542-40D3-ACE3-56A06E561BA2}" dt="2025-01-16T13:24:07.036" v="1"/>
          <pc:sldLayoutMkLst>
            <pc:docMk/>
            <pc:sldMasterMk cId="4148661436" sldId="2147483694"/>
            <pc:sldLayoutMk cId="2479352877" sldId="2147483708"/>
          </pc:sldLayoutMkLst>
        </pc:sldLayoutChg>
      </pc:sldMasterChg>
      <pc:sldMasterChg chg="add addSldLayout">
        <pc:chgData name="BEAUVAIS Marie Neige" userId="S::m-neige.beauvais@francetravail.fr::b723bb87-4b14-4a8c-9a94-8bc30adbb9ac" providerId="AD" clId="Web-{5BAB0E37-E542-40D3-ACE3-56A06E561BA2}" dt="2025-01-16T13:24:13.771" v="2"/>
        <pc:sldMasterMkLst>
          <pc:docMk/>
          <pc:sldMasterMk cId="4148661436" sldId="2147483708"/>
        </pc:sldMasterMkLst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210797220" sldId="2147483709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3042056505" sldId="2147483710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1961247619" sldId="2147483711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658760968" sldId="2147483712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469112517" sldId="2147483713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880432550" sldId="2147483714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706892437" sldId="2147483715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831430972" sldId="2147483716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09936218" sldId="2147483717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1108575834" sldId="2147483718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3550027988" sldId="2147483719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306941773" sldId="2147483720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2525047146" sldId="2147483721"/>
          </pc:sldLayoutMkLst>
        </pc:sldLayoutChg>
        <pc:sldLayoutChg chg="add">
          <pc:chgData name="BEAUVAIS Marie Neige" userId="S::m-neige.beauvais@francetravail.fr::b723bb87-4b14-4a8c-9a94-8bc30adbb9ac" providerId="AD" clId="Web-{5BAB0E37-E542-40D3-ACE3-56A06E561BA2}" dt="2025-01-16T13:24:13.771" v="2"/>
          <pc:sldLayoutMkLst>
            <pc:docMk/>
            <pc:sldMasterMk cId="4148661436" sldId="2147483708"/>
            <pc:sldLayoutMk cId="877255439" sldId="2147483722"/>
          </pc:sldLayoutMkLst>
        </pc:sldLayoutChg>
      </pc:sldMasterChg>
    </pc:docChg>
  </pc:docChgLst>
  <pc:docChgLst>
    <pc:chgData name="RHIT Rodolphe" userId="S::rodolphe.rhit@francetravail.fr::b9a9a40e-f167-42bd-b733-c273c92292fb" providerId="AD" clId="Web-{BB750886-24C1-ABE1-3F9A-9C19ED19DB05}"/>
    <pc:docChg chg="modSld">
      <pc:chgData name="RHIT Rodolphe" userId="S::rodolphe.rhit@francetravail.fr::b9a9a40e-f167-42bd-b733-c273c92292fb" providerId="AD" clId="Web-{BB750886-24C1-ABE1-3F9A-9C19ED19DB05}" dt="2025-01-09T07:12:34.756" v="6" actId="1076"/>
      <pc:docMkLst>
        <pc:docMk/>
      </pc:docMkLst>
      <pc:sldChg chg="modSp">
        <pc:chgData name="RHIT Rodolphe" userId="S::rodolphe.rhit@francetravail.fr::b9a9a40e-f167-42bd-b733-c273c92292fb" providerId="AD" clId="Web-{BB750886-24C1-ABE1-3F9A-9C19ED19DB05}" dt="2025-01-09T07:12:34.756" v="6" actId="1076"/>
        <pc:sldMkLst>
          <pc:docMk/>
          <pc:sldMk cId="911487199" sldId="293"/>
        </pc:sldMkLst>
        <pc:spChg chg="mod">
          <ac:chgData name="RHIT Rodolphe" userId="S::rodolphe.rhit@francetravail.fr::b9a9a40e-f167-42bd-b733-c273c92292fb" providerId="AD" clId="Web-{BB750886-24C1-ABE1-3F9A-9C19ED19DB05}" dt="2025-01-09T07:12:34.756" v="6" actId="1076"/>
          <ac:spMkLst>
            <pc:docMk/>
            <pc:sldMk cId="911487199" sldId="293"/>
            <ac:spMk id="22" creationId="{264F382B-6AFF-6450-BA50-6561C2DD96F9}"/>
          </ac:spMkLst>
        </pc:spChg>
        <pc:spChg chg="mod">
          <ac:chgData name="RHIT Rodolphe" userId="S::rodolphe.rhit@francetravail.fr::b9a9a40e-f167-42bd-b733-c273c92292fb" providerId="AD" clId="Web-{BB750886-24C1-ABE1-3F9A-9C19ED19DB05}" dt="2025-01-09T07:12:07.552" v="4" actId="20577"/>
          <ac:spMkLst>
            <pc:docMk/>
            <pc:sldMk cId="911487199" sldId="293"/>
            <ac:spMk id="25" creationId="{39BBE72D-F79D-ADFC-438A-63D5E1A3D5D4}"/>
          </ac:spMkLst>
        </pc:spChg>
        <pc:spChg chg="mod">
          <ac:chgData name="RHIT Rodolphe" userId="S::rodolphe.rhit@francetravail.fr::b9a9a40e-f167-42bd-b733-c273c92292fb" providerId="AD" clId="Web-{BB750886-24C1-ABE1-3F9A-9C19ED19DB05}" dt="2025-01-09T07:12:12.256" v="5" actId="20577"/>
          <ac:spMkLst>
            <pc:docMk/>
            <pc:sldMk cId="911487199" sldId="293"/>
            <ac:spMk id="28" creationId="{C808494D-218C-CD90-22F5-14C8115769C9}"/>
          </ac:spMkLst>
        </pc:spChg>
      </pc:sldChg>
    </pc:docChg>
  </pc:docChgLst>
  <pc:docChgLst>
    <pc:chgData name="DESTOMBES Caroline (DR NAQ)" userId="b5470e5d-266b-4f9e-9d66-3c6167a724f7" providerId="ADAL" clId="{DC47755A-B6B4-4F30-882F-1F758D2B9458}"/>
    <pc:docChg chg="modSld">
      <pc:chgData name="DESTOMBES Caroline (DR NAQ)" userId="b5470e5d-266b-4f9e-9d66-3c6167a724f7" providerId="ADAL" clId="{DC47755A-B6B4-4F30-882F-1F758D2B9458}" dt="2025-01-07T14:31:42.785" v="12" actId="20577"/>
      <pc:docMkLst>
        <pc:docMk/>
      </pc:docMkLst>
      <pc:sldChg chg="modNotesTx">
        <pc:chgData name="DESTOMBES Caroline (DR NAQ)" userId="b5470e5d-266b-4f9e-9d66-3c6167a724f7" providerId="ADAL" clId="{DC47755A-B6B4-4F30-882F-1F758D2B9458}" dt="2025-01-07T14:31:11.025" v="1" actId="20577"/>
        <pc:sldMkLst>
          <pc:docMk/>
          <pc:sldMk cId="911487199" sldId="293"/>
        </pc:sldMkLst>
      </pc:sldChg>
      <pc:sldChg chg="modNotesTx">
        <pc:chgData name="DESTOMBES Caroline (DR NAQ)" userId="b5470e5d-266b-4f9e-9d66-3c6167a724f7" providerId="ADAL" clId="{DC47755A-B6B4-4F30-882F-1F758D2B9458}" dt="2025-01-07T14:31:21.100" v="4" actId="20577"/>
        <pc:sldMkLst>
          <pc:docMk/>
          <pc:sldMk cId="24107254" sldId="294"/>
        </pc:sldMkLst>
      </pc:sldChg>
      <pc:sldChg chg="modNotesTx">
        <pc:chgData name="DESTOMBES Caroline (DR NAQ)" userId="b5470e5d-266b-4f9e-9d66-3c6167a724f7" providerId="ADAL" clId="{DC47755A-B6B4-4F30-882F-1F758D2B9458}" dt="2025-01-07T14:31:13.875" v="2" actId="20577"/>
        <pc:sldMkLst>
          <pc:docMk/>
          <pc:sldMk cId="1693881078" sldId="296"/>
        </pc:sldMkLst>
      </pc:sldChg>
      <pc:sldChg chg="modNotesTx">
        <pc:chgData name="DESTOMBES Caroline (DR NAQ)" userId="b5470e5d-266b-4f9e-9d66-3c6167a724f7" providerId="ADAL" clId="{DC47755A-B6B4-4F30-882F-1F758D2B9458}" dt="2025-01-07T14:31:42.785" v="12" actId="20577"/>
        <pc:sldMkLst>
          <pc:docMk/>
          <pc:sldMk cId="2935016266" sldId="300"/>
        </pc:sldMkLst>
      </pc:sldChg>
      <pc:sldChg chg="modNotesTx">
        <pc:chgData name="DESTOMBES Caroline (DR NAQ)" userId="b5470e5d-266b-4f9e-9d66-3c6167a724f7" providerId="ADAL" clId="{DC47755A-B6B4-4F30-882F-1F758D2B9458}" dt="2025-01-07T14:31:08.597" v="0" actId="20577"/>
        <pc:sldMkLst>
          <pc:docMk/>
          <pc:sldMk cId="4181267521" sldId="305"/>
        </pc:sldMkLst>
      </pc:sldChg>
      <pc:sldChg chg="modNotesTx">
        <pc:chgData name="DESTOMBES Caroline (DR NAQ)" userId="b5470e5d-266b-4f9e-9d66-3c6167a724f7" providerId="ADAL" clId="{DC47755A-B6B4-4F30-882F-1F758D2B9458}" dt="2025-01-07T14:31:23.669" v="5" actId="20577"/>
        <pc:sldMkLst>
          <pc:docMk/>
          <pc:sldMk cId="2438801887" sldId="370"/>
        </pc:sldMkLst>
      </pc:sldChg>
      <pc:sldChg chg="modNotesTx">
        <pc:chgData name="DESTOMBES Caroline (DR NAQ)" userId="b5470e5d-266b-4f9e-9d66-3c6167a724f7" providerId="ADAL" clId="{DC47755A-B6B4-4F30-882F-1F758D2B9458}" dt="2025-01-07T14:31:26.686" v="6" actId="20577"/>
        <pc:sldMkLst>
          <pc:docMk/>
          <pc:sldMk cId="3506371054" sldId="371"/>
        </pc:sldMkLst>
      </pc:sldChg>
      <pc:sldChg chg="modNotesTx">
        <pc:chgData name="DESTOMBES Caroline (DR NAQ)" userId="b5470e5d-266b-4f9e-9d66-3c6167a724f7" providerId="ADAL" clId="{DC47755A-B6B4-4F30-882F-1F758D2B9458}" dt="2025-01-07T14:31:17.685" v="3" actId="20577"/>
        <pc:sldMkLst>
          <pc:docMk/>
          <pc:sldMk cId="2159442685" sldId="374"/>
        </pc:sldMkLst>
      </pc:sldChg>
      <pc:sldChg chg="modNotesTx">
        <pc:chgData name="DESTOMBES Caroline (DR NAQ)" userId="b5470e5d-266b-4f9e-9d66-3c6167a724f7" providerId="ADAL" clId="{DC47755A-B6B4-4F30-882F-1F758D2B9458}" dt="2025-01-07T14:31:32.419" v="8" actId="20577"/>
        <pc:sldMkLst>
          <pc:docMk/>
          <pc:sldMk cId="1108628652" sldId="376"/>
        </pc:sldMkLst>
      </pc:sldChg>
      <pc:sldChg chg="modNotesTx">
        <pc:chgData name="DESTOMBES Caroline (DR NAQ)" userId="b5470e5d-266b-4f9e-9d66-3c6167a724f7" providerId="ADAL" clId="{DC47755A-B6B4-4F30-882F-1F758D2B9458}" dt="2025-01-07T14:31:40.530" v="11" actId="20577"/>
        <pc:sldMkLst>
          <pc:docMk/>
          <pc:sldMk cId="4211477263" sldId="382"/>
        </pc:sldMkLst>
      </pc:sldChg>
      <pc:sldChg chg="modNotesTx">
        <pc:chgData name="DESTOMBES Caroline (DR NAQ)" userId="b5470e5d-266b-4f9e-9d66-3c6167a724f7" providerId="ADAL" clId="{DC47755A-B6B4-4F30-882F-1F758D2B9458}" dt="2025-01-07T14:31:35.820" v="9" actId="20577"/>
        <pc:sldMkLst>
          <pc:docMk/>
          <pc:sldMk cId="2879876816" sldId="384"/>
        </pc:sldMkLst>
      </pc:sldChg>
      <pc:sldChg chg="modNotesTx">
        <pc:chgData name="DESTOMBES Caroline (DR NAQ)" userId="b5470e5d-266b-4f9e-9d66-3c6167a724f7" providerId="ADAL" clId="{DC47755A-B6B4-4F30-882F-1F758D2B9458}" dt="2025-01-07T14:31:29.684" v="7" actId="20577"/>
        <pc:sldMkLst>
          <pc:docMk/>
          <pc:sldMk cId="220173245" sldId="385"/>
        </pc:sldMkLst>
      </pc:sldChg>
      <pc:sldChg chg="modNotesTx">
        <pc:chgData name="DESTOMBES Caroline (DR NAQ)" userId="b5470e5d-266b-4f9e-9d66-3c6167a724f7" providerId="ADAL" clId="{DC47755A-B6B4-4F30-882F-1F758D2B9458}" dt="2025-01-07T14:31:37.938" v="10" actId="20577"/>
        <pc:sldMkLst>
          <pc:docMk/>
          <pc:sldMk cId="580080682" sldId="386"/>
        </pc:sldMkLst>
      </pc:sldChg>
    </pc:docChg>
  </pc:docChgLst>
  <pc:docChgLst>
    <pc:chgData name="BEAUVAIS Marie Neige" userId="S::m-neige.beauvais@francetravail.fr::b723bb87-4b14-4a8c-9a94-8bc30adbb9ac" providerId="AD" clId="Web-{9C9BFE12-7F74-4C92-8419-4B4AE5F101C7}"/>
    <pc:docChg chg="addSld delSld modSld addMainMaster modMainMaster modSection">
      <pc:chgData name="BEAUVAIS Marie Neige" userId="S::m-neige.beauvais@francetravail.fr::b723bb87-4b14-4a8c-9a94-8bc30adbb9ac" providerId="AD" clId="Web-{9C9BFE12-7F74-4C92-8419-4B4AE5F101C7}" dt="2025-01-08T15:38:31.234" v="466"/>
      <pc:docMkLst>
        <pc:docMk/>
      </pc:docMkLst>
      <pc:sldChg chg="modSp">
        <pc:chgData name="BEAUVAIS Marie Neige" userId="S::m-neige.beauvais@francetravail.fr::b723bb87-4b14-4a8c-9a94-8bc30adbb9ac" providerId="AD" clId="Web-{9C9BFE12-7F74-4C92-8419-4B4AE5F101C7}" dt="2025-01-08T15:08:56.388" v="3" actId="20577"/>
        <pc:sldMkLst>
          <pc:docMk/>
          <pc:sldMk cId="24107254" sldId="294"/>
        </pc:sldMkLst>
        <pc:spChg chg="mod">
          <ac:chgData name="BEAUVAIS Marie Neige" userId="S::m-neige.beauvais@francetravail.fr::b723bb87-4b14-4a8c-9a94-8bc30adbb9ac" providerId="AD" clId="Web-{9C9BFE12-7F74-4C92-8419-4B4AE5F101C7}" dt="2025-01-08T15:08:56.388" v="3" actId="20577"/>
          <ac:spMkLst>
            <pc:docMk/>
            <pc:sldMk cId="24107254" sldId="294"/>
            <ac:spMk id="8" creationId="{DFC78B8D-49A4-3A01-0E77-198089AEB6F7}"/>
          </ac:spMkLst>
        </pc:spChg>
      </pc:sldChg>
      <pc:sldChg chg="delSp">
        <pc:chgData name="BEAUVAIS Marie Neige" userId="S::m-neige.beauvais@francetravail.fr::b723bb87-4b14-4a8c-9a94-8bc30adbb9ac" providerId="AD" clId="Web-{9C9BFE12-7F74-4C92-8419-4B4AE5F101C7}" dt="2025-01-08T15:08:22.183" v="0"/>
        <pc:sldMkLst>
          <pc:docMk/>
          <pc:sldMk cId="134511609" sldId="338"/>
        </pc:sldMkLst>
        <pc:inkChg chg="del">
          <ac:chgData name="BEAUVAIS Marie Neige" userId="S::m-neige.beauvais@francetravail.fr::b723bb87-4b14-4a8c-9a94-8bc30adbb9ac" providerId="AD" clId="Web-{9C9BFE12-7F74-4C92-8419-4B4AE5F101C7}" dt="2025-01-08T15:08:22.183" v="0"/>
          <ac:inkMkLst>
            <pc:docMk/>
            <pc:sldMk cId="134511609" sldId="338"/>
            <ac:inkMk id="16" creationId="{904DF518-6E54-E67C-9F4E-03451244EE9F}"/>
          </ac:inkMkLst>
        </pc:inkChg>
      </pc:sldChg>
      <pc:sldChg chg="delSp">
        <pc:chgData name="BEAUVAIS Marie Neige" userId="S::m-neige.beauvais@francetravail.fr::b723bb87-4b14-4a8c-9a94-8bc30adbb9ac" providerId="AD" clId="Web-{9C9BFE12-7F74-4C92-8419-4B4AE5F101C7}" dt="2025-01-08T15:09:31.717" v="6"/>
        <pc:sldMkLst>
          <pc:docMk/>
          <pc:sldMk cId="2438801887" sldId="370"/>
        </pc:sldMkLst>
        <pc:spChg chg="del">
          <ac:chgData name="BEAUVAIS Marie Neige" userId="S::m-neige.beauvais@francetravail.fr::b723bb87-4b14-4a8c-9a94-8bc30adbb9ac" providerId="AD" clId="Web-{9C9BFE12-7F74-4C92-8419-4B4AE5F101C7}" dt="2025-01-08T15:09:31.717" v="6"/>
          <ac:spMkLst>
            <pc:docMk/>
            <pc:sldMk cId="2438801887" sldId="370"/>
            <ac:spMk id="11" creationId="{87BD1A4A-FDBB-364E-C4D5-4E25C3FB058D}"/>
          </ac:spMkLst>
        </pc:spChg>
      </pc:sldChg>
      <pc:sldChg chg="delSp modSp">
        <pc:chgData name="BEAUVAIS Marie Neige" userId="S::m-neige.beauvais@francetravail.fr::b723bb87-4b14-4a8c-9a94-8bc30adbb9ac" providerId="AD" clId="Web-{9C9BFE12-7F74-4C92-8419-4B4AE5F101C7}" dt="2025-01-08T15:08:37.418" v="2"/>
        <pc:sldMkLst>
          <pc:docMk/>
          <pc:sldMk cId="2159442685" sldId="374"/>
        </pc:sldMkLst>
        <pc:spChg chg="del">
          <ac:chgData name="BEAUVAIS Marie Neige" userId="S::m-neige.beauvais@francetravail.fr::b723bb87-4b14-4a8c-9a94-8bc30adbb9ac" providerId="AD" clId="Web-{9C9BFE12-7F74-4C92-8419-4B4AE5F101C7}" dt="2025-01-08T15:08:37.418" v="2"/>
          <ac:spMkLst>
            <pc:docMk/>
            <pc:sldMk cId="2159442685" sldId="374"/>
            <ac:spMk id="5" creationId="{416F0C1E-0FCF-6CCC-96A2-1CFB41BE6735}"/>
          </ac:spMkLst>
        </pc:spChg>
        <pc:spChg chg="mod">
          <ac:chgData name="BEAUVAIS Marie Neige" userId="S::m-neige.beauvais@francetravail.fr::b723bb87-4b14-4a8c-9a94-8bc30adbb9ac" providerId="AD" clId="Web-{9C9BFE12-7F74-4C92-8419-4B4AE5F101C7}" dt="2025-01-08T15:08:34.278" v="1" actId="1076"/>
          <ac:spMkLst>
            <pc:docMk/>
            <pc:sldMk cId="2159442685" sldId="374"/>
            <ac:spMk id="11" creationId="{623E6B1A-A71B-CD9E-1E1B-D2E01FF297D7}"/>
          </ac:spMkLst>
        </pc:spChg>
      </pc:sldChg>
      <pc:sldChg chg="delSp">
        <pc:chgData name="BEAUVAIS Marie Neige" userId="S::m-neige.beauvais@francetravail.fr::b723bb87-4b14-4a8c-9a94-8bc30adbb9ac" providerId="AD" clId="Web-{9C9BFE12-7F74-4C92-8419-4B4AE5F101C7}" dt="2025-01-08T15:09:40.608" v="7"/>
        <pc:sldMkLst>
          <pc:docMk/>
          <pc:sldMk cId="220173245" sldId="385"/>
        </pc:sldMkLst>
        <pc:spChg chg="del">
          <ac:chgData name="BEAUVAIS Marie Neige" userId="S::m-neige.beauvais@francetravail.fr::b723bb87-4b14-4a8c-9a94-8bc30adbb9ac" providerId="AD" clId="Web-{9C9BFE12-7F74-4C92-8419-4B4AE5F101C7}" dt="2025-01-08T15:09:40.608" v="7"/>
          <ac:spMkLst>
            <pc:docMk/>
            <pc:sldMk cId="220173245" sldId="385"/>
            <ac:spMk id="51" creationId="{EE80CD9F-1D3A-B9A6-5C51-8E1B9A2C7397}"/>
          </ac:spMkLst>
        </pc:spChg>
      </pc:sldChg>
      <pc:sldChg chg="modSp">
        <pc:chgData name="BEAUVAIS Marie Neige" userId="S::m-neige.beauvais@francetravail.fr::b723bb87-4b14-4a8c-9a94-8bc30adbb9ac" providerId="AD" clId="Web-{9C9BFE12-7F74-4C92-8419-4B4AE5F101C7}" dt="2025-01-08T15:09:15.920" v="5" actId="14100"/>
        <pc:sldMkLst>
          <pc:docMk/>
          <pc:sldMk cId="1374082767" sldId="448"/>
        </pc:sldMkLst>
        <pc:spChg chg="mod">
          <ac:chgData name="BEAUVAIS Marie Neige" userId="S::m-neige.beauvais@francetravail.fr::b723bb87-4b14-4a8c-9a94-8bc30adbb9ac" providerId="AD" clId="Web-{9C9BFE12-7F74-4C92-8419-4B4AE5F101C7}" dt="2025-01-08T15:09:15.920" v="5" actId="14100"/>
          <ac:spMkLst>
            <pc:docMk/>
            <pc:sldMk cId="1374082767" sldId="448"/>
            <ac:spMk id="2" creationId="{00000000-0000-0000-0000-000000000000}"/>
          </ac:spMkLst>
        </pc:spChg>
      </pc:sldChg>
      <pc:sldChg chg="addSp delSp modSp add del">
        <pc:chgData name="BEAUVAIS Marie Neige" userId="S::m-neige.beauvais@francetravail.fr::b723bb87-4b14-4a8c-9a94-8bc30adbb9ac" providerId="AD" clId="Web-{9C9BFE12-7F74-4C92-8419-4B4AE5F101C7}" dt="2025-01-08T15:38:31.234" v="466"/>
        <pc:sldMkLst>
          <pc:docMk/>
          <pc:sldMk cId="4218527864" sldId="510"/>
        </pc:sldMkLst>
        <pc:spChg chg="mod">
          <ac:chgData name="BEAUVAIS Marie Neige" userId="S::m-neige.beauvais@francetravail.fr::b723bb87-4b14-4a8c-9a94-8bc30adbb9ac" providerId="AD" clId="Web-{9C9BFE12-7F74-4C92-8419-4B4AE5F101C7}" dt="2025-01-08T15:37:30.888" v="455" actId="20577"/>
          <ac:spMkLst>
            <pc:docMk/>
            <pc:sldMk cId="4218527864" sldId="510"/>
            <ac:spMk id="5" creationId="{D078F1F5-7C89-FB42-F6DE-848CC20AD917}"/>
          </ac:spMkLst>
        </pc:spChg>
        <pc:spChg chg="add del mod">
          <ac:chgData name="BEAUVAIS Marie Neige" userId="S::m-neige.beauvais@francetravail.fr::b723bb87-4b14-4a8c-9a94-8bc30adbb9ac" providerId="AD" clId="Web-{9C9BFE12-7F74-4C92-8419-4B4AE5F101C7}" dt="2025-01-08T15:14:49.323" v="14"/>
          <ac:spMkLst>
            <pc:docMk/>
            <pc:sldMk cId="4218527864" sldId="510"/>
            <ac:spMk id="7" creationId="{88E0ABD2-1581-E77C-78C7-875483DDE458}"/>
          </ac:spMkLst>
        </pc:spChg>
        <pc:spChg chg="add del mod">
          <ac:chgData name="BEAUVAIS Marie Neige" userId="S::m-neige.beauvais@francetravail.fr::b723bb87-4b14-4a8c-9a94-8bc30adbb9ac" providerId="AD" clId="Web-{9C9BFE12-7F74-4C92-8419-4B4AE5F101C7}" dt="2025-01-08T15:38:31.234" v="466"/>
          <ac:spMkLst>
            <pc:docMk/>
            <pc:sldMk cId="4218527864" sldId="510"/>
            <ac:spMk id="11" creationId="{3C7B979F-4A9E-67B8-2FD8-692C69FB88C1}"/>
          </ac:spMkLst>
        </pc:spChg>
        <pc:spChg chg="mod">
          <ac:chgData name="BEAUVAIS Marie Neige" userId="S::m-neige.beauvais@francetravail.fr::b723bb87-4b14-4a8c-9a94-8bc30adbb9ac" providerId="AD" clId="Web-{9C9BFE12-7F74-4C92-8419-4B4AE5F101C7}" dt="2025-01-08T15:38:15.139" v="464" actId="20577"/>
          <ac:spMkLst>
            <pc:docMk/>
            <pc:sldMk cId="4218527864" sldId="510"/>
            <ac:spMk id="35" creationId="{48E3218F-93B5-6A5C-F685-7F2C5B0CCB74}"/>
          </ac:spMkLst>
        </pc:spChg>
        <pc:picChg chg="del">
          <ac:chgData name="BEAUVAIS Marie Neige" userId="S::m-neige.beauvais@francetravail.fr::b723bb87-4b14-4a8c-9a94-8bc30adbb9ac" providerId="AD" clId="Web-{9C9BFE12-7F74-4C92-8419-4B4AE5F101C7}" dt="2025-01-08T15:26:28.551" v="40"/>
          <ac:picMkLst>
            <pc:docMk/>
            <pc:sldMk cId="4218527864" sldId="510"/>
            <ac:picMk id="3" creationId="{064393E7-559D-5A50-5A7C-642F4457747E}"/>
          </ac:picMkLst>
        </pc:picChg>
        <pc:picChg chg="del">
          <ac:chgData name="BEAUVAIS Marie Neige" userId="S::m-neige.beauvais@francetravail.fr::b723bb87-4b14-4a8c-9a94-8bc30adbb9ac" providerId="AD" clId="Web-{9C9BFE12-7F74-4C92-8419-4B4AE5F101C7}" dt="2025-01-08T15:13:49.602" v="13"/>
          <ac:picMkLst>
            <pc:docMk/>
            <pc:sldMk cId="4218527864" sldId="510"/>
            <ac:picMk id="6" creationId="{D8A8F074-A28B-52BD-CA6C-F77729134D6E}"/>
          </ac:picMkLst>
        </pc:picChg>
        <pc:picChg chg="del">
          <ac:chgData name="BEAUVAIS Marie Neige" userId="S::m-neige.beauvais@francetravail.fr::b723bb87-4b14-4a8c-9a94-8bc30adbb9ac" providerId="AD" clId="Web-{9C9BFE12-7F74-4C92-8419-4B4AE5F101C7}" dt="2025-01-08T15:27:00.287" v="44"/>
          <ac:picMkLst>
            <pc:docMk/>
            <pc:sldMk cId="4218527864" sldId="510"/>
            <ac:picMk id="8" creationId="{3F814770-AB96-EE1E-BD0D-5BF7FC3DFC28}"/>
          </ac:picMkLst>
        </pc:picChg>
        <pc:picChg chg="add del mod ord">
          <ac:chgData name="BEAUVAIS Marie Neige" userId="S::m-neige.beauvais@francetravail.fr::b723bb87-4b14-4a8c-9a94-8bc30adbb9ac" providerId="AD" clId="Web-{9C9BFE12-7F74-4C92-8419-4B4AE5F101C7}" dt="2025-01-08T15:38:24.311" v="465"/>
          <ac:picMkLst>
            <pc:docMk/>
            <pc:sldMk cId="4218527864" sldId="510"/>
            <ac:picMk id="9" creationId="{23F708A9-44F6-1C08-934F-2658009D8DE9}"/>
          </ac:picMkLst>
        </pc:picChg>
      </pc:sldChg>
      <pc:sldMasterChg chg="addSldLayout delSldLayout">
        <pc:chgData name="BEAUVAIS Marie Neige" userId="S::m-neige.beauvais@francetravail.fr::b723bb87-4b14-4a8c-9a94-8bc30adbb9ac" providerId="AD" clId="Web-{9C9BFE12-7F74-4C92-8419-4B4AE5F101C7}" dt="2025-01-08T15:13:26.226" v="11"/>
        <pc:sldMasterMkLst>
          <pc:docMk/>
          <pc:sldMasterMk cId="4148661436" sldId="2147483648"/>
        </pc:sldMasterMkLst>
        <pc:sldLayoutChg chg="add del">
          <pc:chgData name="BEAUVAIS Marie Neige" userId="S::m-neige.beauvais@francetravail.fr::b723bb87-4b14-4a8c-9a94-8bc30adbb9ac" providerId="AD" clId="Web-{9C9BFE12-7F74-4C92-8419-4B4AE5F101C7}" dt="2025-01-08T15:13:09.350" v="9"/>
          <pc:sldLayoutMkLst>
            <pc:docMk/>
            <pc:sldMasterMk cId="4148661436" sldId="2147483648"/>
            <pc:sldLayoutMk cId="1729908899" sldId="2147483694"/>
          </pc:sldLayoutMkLst>
        </pc:sldLayoutChg>
        <pc:sldLayoutChg chg="add del">
          <pc:chgData name="BEAUVAIS Marie Neige" userId="S::m-neige.beauvais@francetravail.fr::b723bb87-4b14-4a8c-9a94-8bc30adbb9ac" providerId="AD" clId="Web-{9C9BFE12-7F74-4C92-8419-4B4AE5F101C7}" dt="2025-01-08T15:13:26.226" v="11"/>
          <pc:sldLayoutMkLst>
            <pc:docMk/>
            <pc:sldMasterMk cId="4148661436" sldId="2147483648"/>
            <pc:sldLayoutMk cId="2354755030" sldId="2147483694"/>
          </pc:sldLayoutMkLst>
        </pc:sldLayoutChg>
      </pc:sldMasterChg>
      <pc:sldMasterChg chg="modSldLayout">
        <pc:chgData name="BEAUVAIS Marie Neige" userId="S::m-neige.beauvais@francetravail.fr::b723bb87-4b14-4a8c-9a94-8bc30adbb9ac" providerId="AD" clId="Web-{9C9BFE12-7F74-4C92-8419-4B4AE5F101C7}" dt="2025-01-08T15:13:43.383" v="12"/>
        <pc:sldMasterMkLst>
          <pc:docMk/>
          <pc:sldMasterMk cId="2440389242" sldId="2147483677"/>
        </pc:sldMasterMkLst>
        <pc:sldLayoutChg chg="replI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2440389242" sldId="2147483677"/>
            <pc:sldLayoutMk cId="2011887620" sldId="2147483706"/>
          </pc:sldLayoutMkLst>
        </pc:sldLayoutChg>
        <pc:sldLayoutChg chg="replI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2440389242" sldId="2147483677"/>
            <pc:sldLayoutMk cId="1114722191" sldId="2147483707"/>
          </pc:sldLayoutMkLst>
        </pc:sldLayoutChg>
      </pc:sldMasterChg>
      <pc:sldMasterChg chg="add addSldLayout">
        <pc:chgData name="BEAUVAIS Marie Neige" userId="S::m-neige.beauvais@francetravail.fr::b723bb87-4b14-4a8c-9a94-8bc30adbb9ac" providerId="AD" clId="Web-{9C9BFE12-7F74-4C92-8419-4B4AE5F101C7}" dt="2025-01-08T15:13:43.383" v="12"/>
        <pc:sldMasterMkLst>
          <pc:docMk/>
          <pc:sldMasterMk cId="4148661436" sldId="2147483694"/>
        </pc:sldMasterMkLst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3978572938" sldId="2147483685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1401664223" sldId="2147483686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2210797220" sldId="2147483695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3042056505" sldId="2147483696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1961247619" sldId="2147483697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658760968" sldId="2147483698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469112517" sldId="2147483699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2880432550" sldId="2147483700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2706892437" sldId="2147483701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2831430972" sldId="2147483702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209936218" sldId="2147483703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1108575834" sldId="2147483704"/>
          </pc:sldLayoutMkLst>
        </pc:sldLayoutChg>
        <pc:sldLayoutChg chg="add">
          <pc:chgData name="BEAUVAIS Marie Neige" userId="S::m-neige.beauvais@francetravail.fr::b723bb87-4b14-4a8c-9a94-8bc30adbb9ac" providerId="AD" clId="Web-{9C9BFE12-7F74-4C92-8419-4B4AE5F101C7}" dt="2025-01-08T15:13:43.383" v="12"/>
          <pc:sldLayoutMkLst>
            <pc:docMk/>
            <pc:sldMasterMk cId="4148661436" sldId="2147483694"/>
            <pc:sldLayoutMk cId="3550027988" sldId="2147483705"/>
          </pc:sldLayoutMkLst>
        </pc:sldLayoutChg>
      </pc:sldMasterChg>
    </pc:docChg>
  </pc:docChgLst>
  <pc:docChgLst>
    <pc:chgData name="BEAUVAIS Marie Neige" userId="S::m-neige.beauvais@francetravail.fr::b723bb87-4b14-4a8c-9a94-8bc30adbb9ac" providerId="AD" clId="Web-{E459E140-AAE6-49B2-AFE1-66A888434BB3}"/>
    <pc:docChg chg="modSld">
      <pc:chgData name="BEAUVAIS Marie Neige" userId="S::m-neige.beauvais@francetravail.fr::b723bb87-4b14-4a8c-9a94-8bc30adbb9ac" providerId="AD" clId="Web-{E459E140-AAE6-49B2-AFE1-66A888434BB3}" dt="2025-01-16T12:38:00.588" v="83" actId="20577"/>
      <pc:docMkLst>
        <pc:docMk/>
      </pc:docMkLst>
      <pc:sldChg chg="modSp">
        <pc:chgData name="BEAUVAIS Marie Neige" userId="S::m-neige.beauvais@francetravail.fr::b723bb87-4b14-4a8c-9a94-8bc30adbb9ac" providerId="AD" clId="Web-{E459E140-AAE6-49B2-AFE1-66A888434BB3}" dt="2025-01-16T12:35:47.126" v="44" actId="20577"/>
        <pc:sldMkLst>
          <pc:docMk/>
          <pc:sldMk cId="134511609" sldId="338"/>
        </pc:sldMkLst>
        <pc:spChg chg="mod">
          <ac:chgData name="BEAUVAIS Marie Neige" userId="S::m-neige.beauvais@francetravail.fr::b723bb87-4b14-4a8c-9a94-8bc30adbb9ac" providerId="AD" clId="Web-{E459E140-AAE6-49B2-AFE1-66A888434BB3}" dt="2025-01-16T12:35:47.126" v="44" actId="20577"/>
          <ac:spMkLst>
            <pc:docMk/>
            <pc:sldMk cId="134511609" sldId="338"/>
            <ac:spMk id="2" creationId="{21E72E6D-7011-9443-BFAF-C5290E782DD6}"/>
          </ac:spMkLst>
        </pc:spChg>
        <pc:picChg chg="mod">
          <ac:chgData name="BEAUVAIS Marie Neige" userId="S::m-neige.beauvais@francetravail.fr::b723bb87-4b14-4a8c-9a94-8bc30adbb9ac" providerId="AD" clId="Web-{E459E140-AAE6-49B2-AFE1-66A888434BB3}" dt="2025-01-16T12:35:13.107" v="40" actId="1076"/>
          <ac:picMkLst>
            <pc:docMk/>
            <pc:sldMk cId="134511609" sldId="338"/>
            <ac:picMk id="7" creationId="{00000000-0000-0000-0000-000000000000}"/>
          </ac:picMkLst>
        </pc:picChg>
      </pc:sldChg>
      <pc:sldChg chg="modSp">
        <pc:chgData name="BEAUVAIS Marie Neige" userId="S::m-neige.beauvais@francetravail.fr::b723bb87-4b14-4a8c-9a94-8bc30adbb9ac" providerId="AD" clId="Web-{E459E140-AAE6-49B2-AFE1-66A888434BB3}" dt="2025-01-16T12:33:57.977" v="36" actId="20577"/>
        <pc:sldMkLst>
          <pc:docMk/>
          <pc:sldMk cId="1025980971" sldId="339"/>
        </pc:sldMkLst>
        <pc:spChg chg="mod">
          <ac:chgData name="BEAUVAIS Marie Neige" userId="S::m-neige.beauvais@francetravail.fr::b723bb87-4b14-4a8c-9a94-8bc30adbb9ac" providerId="AD" clId="Web-{E459E140-AAE6-49B2-AFE1-66A888434BB3}" dt="2025-01-16T12:33:57.977" v="36" actId="20577"/>
          <ac:spMkLst>
            <pc:docMk/>
            <pc:sldMk cId="1025980971" sldId="339"/>
            <ac:spMk id="2" creationId="{21E72E6D-7011-9443-BFAF-C5290E782DD6}"/>
          </ac:spMkLst>
        </pc:spChg>
      </pc:sldChg>
      <pc:sldChg chg="modSp">
        <pc:chgData name="BEAUVAIS Marie Neige" userId="S::m-neige.beauvais@francetravail.fr::b723bb87-4b14-4a8c-9a94-8bc30adbb9ac" providerId="AD" clId="Web-{E459E140-AAE6-49B2-AFE1-66A888434BB3}" dt="2025-01-16T12:36:12.659" v="46" actId="14100"/>
        <pc:sldMkLst>
          <pc:docMk/>
          <pc:sldMk cId="1374082767" sldId="448"/>
        </pc:sldMkLst>
        <pc:spChg chg="mod">
          <ac:chgData name="BEAUVAIS Marie Neige" userId="S::m-neige.beauvais@francetravail.fr::b723bb87-4b14-4a8c-9a94-8bc30adbb9ac" providerId="AD" clId="Web-{E459E140-AAE6-49B2-AFE1-66A888434BB3}" dt="2025-01-16T12:36:12.659" v="46" actId="14100"/>
          <ac:spMkLst>
            <pc:docMk/>
            <pc:sldMk cId="1374082767" sldId="448"/>
            <ac:spMk id="2" creationId="{00000000-0000-0000-0000-000000000000}"/>
          </ac:spMkLst>
        </pc:spChg>
      </pc:sldChg>
      <pc:sldChg chg="modSp">
        <pc:chgData name="BEAUVAIS Marie Neige" userId="S::m-neige.beauvais@francetravail.fr::b723bb87-4b14-4a8c-9a94-8bc30adbb9ac" providerId="AD" clId="Web-{E459E140-AAE6-49B2-AFE1-66A888434BB3}" dt="2025-01-16T12:38:00.588" v="83" actId="20577"/>
        <pc:sldMkLst>
          <pc:docMk/>
          <pc:sldMk cId="4218527864" sldId="510"/>
        </pc:sldMkLst>
        <pc:spChg chg="mod">
          <ac:chgData name="BEAUVAIS Marie Neige" userId="S::m-neige.beauvais@francetravail.fr::b723bb87-4b14-4a8c-9a94-8bc30adbb9ac" providerId="AD" clId="Web-{E459E140-AAE6-49B2-AFE1-66A888434BB3}" dt="2025-01-16T12:38:00.588" v="83" actId="20577"/>
          <ac:spMkLst>
            <pc:docMk/>
            <pc:sldMk cId="4218527864" sldId="510"/>
            <ac:spMk id="5" creationId="{D078F1F5-7C89-FB42-F6DE-848CC20AD917}"/>
          </ac:spMkLst>
        </pc:spChg>
      </pc:sldChg>
    </pc:docChg>
  </pc:docChgLst>
  <pc:docChgLst>
    <pc:chgData name="BEAUVAIS Marie Neige" userId="S::m-neige.beauvais@francetravail.fr::b723bb87-4b14-4a8c-9a94-8bc30adbb9ac" providerId="AD" clId="Web-{EEDD3A8C-3FB8-44B9-89FF-FE99AB56ED80}"/>
    <pc:docChg chg="modSld sldOrd">
      <pc:chgData name="BEAUVAIS Marie Neige" userId="S::m-neige.beauvais@francetravail.fr::b723bb87-4b14-4a8c-9a94-8bc30adbb9ac" providerId="AD" clId="Web-{EEDD3A8C-3FB8-44B9-89FF-FE99AB56ED80}" dt="2025-01-17T15:48:38.413" v="19"/>
      <pc:docMkLst>
        <pc:docMk/>
      </pc:docMkLst>
      <pc:sldChg chg="modSp">
        <pc:chgData name="BEAUVAIS Marie Neige" userId="S::m-neige.beauvais@francetravail.fr::b723bb87-4b14-4a8c-9a94-8bc30adbb9ac" providerId="AD" clId="Web-{EEDD3A8C-3FB8-44B9-89FF-FE99AB56ED80}" dt="2025-01-17T15:48:30.162" v="18" actId="1076"/>
        <pc:sldMkLst>
          <pc:docMk/>
          <pc:sldMk cId="911487199" sldId="293"/>
        </pc:sldMkLst>
        <pc:spChg chg="mod">
          <ac:chgData name="BEAUVAIS Marie Neige" userId="S::m-neige.beauvais@francetravail.fr::b723bb87-4b14-4a8c-9a94-8bc30adbb9ac" providerId="AD" clId="Web-{EEDD3A8C-3FB8-44B9-89FF-FE99AB56ED80}" dt="2025-01-17T15:47:32.239" v="6" actId="1076"/>
          <ac:spMkLst>
            <pc:docMk/>
            <pc:sldMk cId="911487199" sldId="293"/>
            <ac:spMk id="8" creationId="{E4720CF1-F5C9-BF87-D133-155005CF5332}"/>
          </ac:spMkLst>
        </pc:spChg>
        <pc:spChg chg="mod">
          <ac:chgData name="BEAUVAIS Marie Neige" userId="S::m-neige.beauvais@francetravail.fr::b723bb87-4b14-4a8c-9a94-8bc30adbb9ac" providerId="AD" clId="Web-{EEDD3A8C-3FB8-44B9-89FF-FE99AB56ED80}" dt="2025-01-17T15:47:47.271" v="9" actId="1076"/>
          <ac:spMkLst>
            <pc:docMk/>
            <pc:sldMk cId="911487199" sldId="293"/>
            <ac:spMk id="11" creationId="{926AAD5C-E79B-B173-8C94-4E6675C6B378}"/>
          </ac:spMkLst>
        </pc:spChg>
        <pc:spChg chg="mod">
          <ac:chgData name="BEAUVAIS Marie Neige" userId="S::m-neige.beauvais@francetravail.fr::b723bb87-4b14-4a8c-9a94-8bc30adbb9ac" providerId="AD" clId="Web-{EEDD3A8C-3FB8-44B9-89FF-FE99AB56ED80}" dt="2025-01-17T15:47:54.177" v="10" actId="1076"/>
          <ac:spMkLst>
            <pc:docMk/>
            <pc:sldMk cId="911487199" sldId="293"/>
            <ac:spMk id="12" creationId="{67CE579D-1C5B-20F3-4143-5F99591811BC}"/>
          </ac:spMkLst>
        </pc:spChg>
        <pc:spChg chg="mod">
          <ac:chgData name="BEAUVAIS Marie Neige" userId="S::m-neige.beauvais@francetravail.fr::b723bb87-4b14-4a8c-9a94-8bc30adbb9ac" providerId="AD" clId="Web-{EEDD3A8C-3FB8-44B9-89FF-FE99AB56ED80}" dt="2025-01-17T15:48:11.677" v="16" actId="1076"/>
          <ac:spMkLst>
            <pc:docMk/>
            <pc:sldMk cId="911487199" sldId="293"/>
            <ac:spMk id="22" creationId="{264F382B-6AFF-6450-BA50-6561C2DD96F9}"/>
          </ac:spMkLst>
        </pc:spChg>
        <pc:spChg chg="mod">
          <ac:chgData name="BEAUVAIS Marie Neige" userId="S::m-neige.beauvais@francetravail.fr::b723bb87-4b14-4a8c-9a94-8bc30adbb9ac" providerId="AD" clId="Web-{EEDD3A8C-3FB8-44B9-89FF-FE99AB56ED80}" dt="2025-01-17T15:48:16.787" v="17" actId="1076"/>
          <ac:spMkLst>
            <pc:docMk/>
            <pc:sldMk cId="911487199" sldId="293"/>
            <ac:spMk id="25" creationId="{39BBE72D-F79D-ADFC-438A-63D5E1A3D5D4}"/>
          </ac:spMkLst>
        </pc:spChg>
        <pc:spChg chg="mod">
          <ac:chgData name="BEAUVAIS Marie Neige" userId="S::m-neige.beauvais@francetravail.fr::b723bb87-4b14-4a8c-9a94-8bc30adbb9ac" providerId="AD" clId="Web-{EEDD3A8C-3FB8-44B9-89FF-FE99AB56ED80}" dt="2025-01-17T15:48:30.162" v="18" actId="1076"/>
          <ac:spMkLst>
            <pc:docMk/>
            <pc:sldMk cId="911487199" sldId="293"/>
            <ac:spMk id="28" creationId="{C808494D-218C-CD90-22F5-14C8115769C9}"/>
          </ac:spMkLst>
        </pc:spChg>
      </pc:sldChg>
      <pc:sldChg chg="ord">
        <pc:chgData name="BEAUVAIS Marie Neige" userId="S::m-neige.beauvais@francetravail.fr::b723bb87-4b14-4a8c-9a94-8bc30adbb9ac" providerId="AD" clId="Web-{EEDD3A8C-3FB8-44B9-89FF-FE99AB56ED80}" dt="2025-01-17T15:48:38.413" v="19"/>
        <pc:sldMkLst>
          <pc:docMk/>
          <pc:sldMk cId="4181267521" sldId="305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428838583473663"/>
          <c:y val="0"/>
          <c:w val="0.53142341224912581"/>
          <c:h val="1"/>
        </c:manualLayout>
      </c:layout>
      <c:pieChart>
        <c:varyColors val="1"/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5="http://schemas.microsoft.com/office/drawing/2012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C9EE706-5A46-5D8C-9847-32B5442D00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773F71A-3398-A8ED-B14A-0D8A53A09DC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D1D652-B38B-492B-A121-3F45F4A171F9}" type="datetimeFigureOut">
              <a:rPr lang="fr-FR" smtClean="0">
                <a:latin typeface="Arial" panose="020B0604020202020204" pitchFamily="34" charset="0"/>
              </a:rPr>
              <a:t>20/01/2025</a:t>
            </a:fld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C075232-AA53-D9E1-22C8-D0C19EC53A7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BCA55C2-9F26-98CD-0EA6-5D9DCD1672E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D3EEAC-788E-413F-AC89-18A39B9986FB}" type="slidenum">
              <a:rPr lang="fr-FR" smtClean="0">
                <a:latin typeface="Arial" panose="020B0604020202020204" pitchFamily="34" charset="0"/>
              </a:rPr>
              <a:t>‹N°›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543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09:56.32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19029'0'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8741 4425 16383 0 0,'-5'0'0'0'0,"-7"0"0"0"0,-5 0 0 0 0,-10 0 0 0 0,-6-5 0 0 0,-1-1 0 0 0,-1-5 0 0 0,2-1 0 0 0,1-2 0 0 0,1 0 0 0 0,-4 3 0 0 0,0-1 0 0 0,0 0 0 0 0,2 4 0 0 0,1-3 0 0 0,-4 1 0 0 0,0 2 0 0 0,1 3 0 0 0,2 1 0 0 0,1 3 0 0 0,1 0 0 0 0,2 1 0 0 0,0 0 0 0 0,0 1 0 0 0,6-6 0 0 0,1-1 0 0 0,0 0 0 0 0,-1 2 0 0 0,-2 0 0 0 0,-2 2 0 0 0,0 1 0 0 0,-1 0 0 0 0,-1 1 0 0 0,0 0 0 0 0,1 1 0 0 0,-1-1 0 0 0,-5 0 0 0 0,-1 0 0 0 0,-5 0 0 0 0,0 0 0 0 0,2 0 0 0 0,2 0 0 0 0,3 0 0 0 0,1 0 0 0 0,3 0 0 0 0,0 0 0 0 0,0 0 0 0 0,1 0 0 0 0,0 0 0 0 0,0 0 0 0 0,0 0 0 0 0,-1 0 0 0 0,1 0 0 0 0,-1 0 0 0 0,1 0 0 0 0,-1 0 0 0 0,0 0 0 0 0,1 0 0 0 0,-1 0 0 0 0,1 0 0 0 0,-1 0 0 0 0,5 5 0 0 0,2 2 0 0 0,0-1 0 0 0,-2-1 0 0 0,-1 3 0 0 0,-2 1 0 0 0,0-2 0 0 0,-1 4 0 0 0,-1 3 0 0 0,1 1 0 0 0,-1-3 0 0 0,0-3 0 0 0,0 1 0 0 0,0 0 0 0 0,0-3 0 0 0,1-2 0 0 0,-1-2 0 0 0,1 4 0 0 0,-1 0 0 0 0,5 4 0 0 0,2 5 0 0 0,0 4 0 0 0,3 5 0 0 0,0-3 0 0 0,4-1 0 0 0,-1-2 0 0 0,-2-6 0 0 0,-4 0 0 0 0,3 3 0 0 0,4 4 0 0 0,5 7 0 0 0,-1 5 0 0 0,-4-3 0 0 0,2-2 0 0 0,2-1 0 0 0,-2-4 0 0 0,2-2 0 0 0,-2-3 0 0 0,0-1 0 0 0,3 3 0 0 0,4 2 0 0 0,2 3 0 0 0,2 2 0 0 0,-4 1 0 0 0,0 7 0 0 0,0 1 0 0 0,2 5 0 0 0,1 1 0 0 0,1-2 0 0 0,1-3 0 0 0,1-3 0 0 0,0 3 0 0 0,0 1 0 0 0,0-2 0 0 0,0-2 0 0 0,1-1 0 0 0,-1-2 0 0 0,0-1 0 0 0,5 0 0 0 0,1 4 0 0 0,5-3 0 0 0,1-2 0 0 0,-3-1 0 0 0,3 0 0 0 0,4 0 0 0 0,0 1 0 0 0,1-5 0 0 0,3-1 0 0 0,3 0 0 0 0,2 1 0 0 0,2 2 0 0 0,7 2 0 0 0,1-4 0 0 0,0-2 0 0 0,-5 2 0 0 0,-4-4 0 0 0,-1 0 0 0 0,-5 1 0 0 0,-1 3 0 0 0,6 2 0 0 0,4-4 0 0 0,2-4 0 0 0,0-2 0 0 0,0-2 0 0 0,4 1 0 0 0,1 3 0 0 0,0-1 0 0 0,3-3 0 0 0,-1 0 0 0 0,-1-1 0 0 0,-2 1 0 0 0,-2 0 0 0 0,-3 1 0 0 0,0-1 0 0 0,-1-3 0 0 0,-1-3 0 0 0,5-2 0 0 0,1-3 0 0 0,1-2 0 0 0,3 0 0 0 0,0 0 0 0 0,-1-1 0 0 0,-2 0 0 0 0,-2 1 0 0 0,-3 0 0 0 0,0-1 0 0 0,4 1 0 0 0,1 0 0 0 0,-1 0 0 0 0,-1 0 0 0 0,-1 0 0 0 0,-2 0 0 0 0,5 0 0 0 0,0 0 0 0 0,5 0 0 0 0,5 0 0 0 0,-1 0 0 0 0,-2 0 0 0 0,-4 0 0 0 0,-3-4 0 0 0,1-3 0 0 0,1 1 0 0 0,-2-4 0 0 0,-2 0 0 0 0,3-3 0 0 0,6-5 0 0 0,-1 2 0 0 0,-1-2 0 0 0,2 2 0 0 0,-2 4 0 0 0,3-1 0 0 0,-6-3 0 0 0,0 1 0 0 0,-2 3 0 0 0,-1 4 0 0 0,-2 3 0 0 0,-1-3 0 0 0,-1 1 0 0 0,-7-4 0 0 0,-1 0 0 0 0,5 2 0 0 0,3 2 0 0 0,1-2 0 0 0,0-4 0 0 0,0-6 0 0 0,-1 2 0 0 0,-5-3 0 0 0,-2 4 0 0 0,0 3 0 0 0,0 5 0 0 0,2-2 0 0 0,2 1 0 0 0,-5-3 0 0 0,0-3 0 0 0,-5-6 0 0 0,1-3 0 0 0,1-2 0 0 0,2 3 0 0 0,-1 0 0 0 0,-1 0 0 0 0,-2-2 0 0 0,0 0 0 0 0,-3-2 0 0 0,-3-1 0 0 0,-5-1 0 0 0,3 6 0 0 0,-1 0 0 0 0,4-4 0 0 0,-1-4 0 0 0,-2 0 0 0 0,2-1 0 0 0,0 1 0 0 0,2 1 0 0 0,-1 0 0 0 0,3-4 0 0 0,-2-1 0 0 0,2 0 0 0 0,-1 1 0 0 0,-3 2 0 0 0,-4 2 0 0 0,-3 0 0 0 0,-2 1 0 0 0,-1 1 0 0 0,-2-1 0 0 0,1 1 0 0 0,-6 4 0 0 0,-6 2 0 0 0,-1 0 0 0 0,-3 4 0 0 0,1-1 0 0 0,-2-1 0 0 0,-3 2 0 0 0,-2 0 0 0 0,-3-2 0 0 0,-2 2 0 0 0,3 0 0 0 0,2 2 0 0 0,-1-1 0 0 0,4-1 0 0 0,-5 1 0 0 0,-3 4 0 0 0,-2 4 0 0 0,-1-1 0 0 0,0 0 0 0 0,5-1 0 0 0,2-5 0 0 0,0 0 0 0 0,3-1 0 0 0,2 1 0 0 0,2 0 0 0 0,0 1 0 0 0,3-1 0 0 0,-2 3 0 0 0,-3 2 0 0 0,-3 4 0 0 0,-3-1 0 0 0,-8-6 0 0 0,-2-4 0 0 0,-1 1 0 0 0,1-2 0 0 0,6-2 0 0 0,8-3 0 0 0,2 3 0 0 0,0 5 0 0 0,-2 5 0 0 0,2 0 0 0 0,-1 1 0 0 0,-1 3 0 0 0,-3 3 0 0 0,3 1 0 0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8306 6187 16383 0 0,'-5'0'0'0'0,"-6"0"0"0"0,-12 0 0 0 0,-11 0 0 0 0,-14 0 0 0 0,-14 0 0 0 0,-16 0 0 0 0,-9 0 0 0 0,-4 0 0 0 0,3 0 0 0 0,12 0 0 0 0,9 0 0 0 0,12 0 0 0 0,9 0 0 0 0,8 0 0 0 0,6 0 0 0 0,3 0 0 0 0,2 0 0 0 0,1 0 0 0 0,-1 0 0 0 0,-4 0 0 0 0,-3 0 0 0 0,0 0 0 0 0,0 0 0 0 0,2 0 0 0 0,2 0 0 0 0,-5 5 0 0 0,-5 2 0 0 0,-2 4 0 0 0,3 0 0 0 0,7 4 0 0 0,-1-2 0 0 0,1-2 0 0 0,1-3 0 0 0,-5-3 0 0 0,0 2 0 0 0,-4 5 0 0 0,0 1 0 0 0,2-3 0 0 0,2 3 0 0 0,-2-1 0 0 0,0 2 0 0 0,3 3 0 0 0,1 0 0 0 0,2-4 0 0 0,2 1 0 0 0,0 3 0 0 0,2-2 0 0 0,4 2 0 0 0,3 3 0 0 0,3 3 0 0 0,2 2 0 0 0,2 2 0 0 0,4 1 0 0 0,-1 1 0 0 0,1 0 0 0 0,2 5 0 0 0,3 1 0 0 0,2 1 0 0 0,2-3 0 0 0,0 0 0 0 0,1-2 0 0 0,1-2 0 0 0,-1 5 0 0 0,1 1 0 0 0,-1 5 0 0 0,0-1 0 0 0,0-1 0 0 0,0 3 0 0 0,0-1 0 0 0,0-3 0 0 0,0-2 0 0 0,5-3 0 0 0,6 3 0 0 0,7 1 0 0 0,0-1 0 0 0,1 3 0 0 0,3-5 0 0 0,3-3 0 0 0,6 3 0 0 0,3 1 0 0 0,0-1 0 0 0,5 0 0 0 0,0 3 0 0 0,-6 0 0 0 0,-4 0 0 0 0,2 2 0 0 0,2-4 0 0 0,-1-4 0 0 0,0-1 0 0 0,-2-2 0 0 0,0 0 0 0 0,-1 0 0 0 0,0 1 0 0 0,5 0 0 0 0,1-5 0 0 0,-1-6 0 0 0,-5-1 0 0 0,1-3 0 0 0,6 0 0 0 0,-3 4 0 0 0,-3-1 0 0 0,-1 1 0 0 0,-1 2 0 0 0,-1-1 0 0 0,6 1 0 0 0,6-3 0 0 0,2-4 0 0 0,-2-5 0 0 0,3-2 0 0 0,4 2 0 0 0,3 4 0 0 0,4 2 0 0 0,-3 2 0 0 0,0-1 0 0 0,-3-3 0 0 0,-1-3 0 0 0,-2-3 0 0 0,-5-3 0 0 0,-3-1 0 0 0,1-1 0 0 0,0 0 0 0 0,2-1 0 0 0,1 0 0 0 0,-2 1 0 0 0,-3 0 0 0 0,2-1 0 0 0,0 1 0 0 0,4 0 0 0 0,4 0 0 0 0,-1 0 0 0 0,3-5 0 0 0,-3-1 0 0 0,-4-5 0 0 0,2 0 0 0 0,-2-4 0 0 0,-3 1 0 0 0,-3 3 0 0 0,3-1 0 0 0,4-4 0 0 0,1 1 0 0 0,-2-2 0 0 0,-4-3 0 0 0,3-3 0 0 0,-1 3 0 0 0,-2 4 0 0 0,-2-4 0 0 0,-3 1 0 0 0,4-2 0 0 0,6-1 0 0 0,0-2 0 0 0,-1-2 0 0 0,-4-2 0 0 0,-2 5 0 0 0,-7 1 0 0 0,-3-1 0 0 0,3 4 0 0 0,3 0 0 0 0,1 3 0 0 0,0 0 0 0 0,-1-3 0 0 0,0 3 0 0 0,-5-2 0 0 0,-3 3 0 0 0,1-1 0 0 0,1-3 0 0 0,1 2 0 0 0,1-1 0 0 0,-3-2 0 0 0,-7-3 0 0 0,0-3 0 0 0,2-5 0 0 0,2-4 0 0 0,3 0 0 0 0,3-3 0 0 0,1-2 0 0 0,-4-2 0 0 0,0 1 0 0 0,-5-3 0 0 0,-1 1 0 0 0,-2 4 0 0 0,-5-2 0 0 0,2 6 0 0 0,-2 0 0 0 0,-2 0 0 0 0,2 2 0 0 0,-1 2 0 0 0,4 5 0 0 0,-2-2 0 0 0,-1-1 0 0 0,-3-1 0 0 0,-3 0 0 0 0,-2 1 0 0 0,-1-1 0 0 0,-1 1 0 0 0,0 0 0 0 0,-1-4 0 0 0,-4-2 0 0 0,-2 0 0 0 0,0 1 0 0 0,-3 2 0 0 0,0 2 0 0 0,-3 0 0 0 0,0 1 0 0 0,-2 5 0 0 0,2 2 0 0 0,2 0 0 0 0,4-1 0 0 0,-3 3 0 0 0,-3 0 0 0 0,-1-1 0 0 0,-2 2 0 0 0,-3 1 0 0 0,-3 2 0 0 0,-4 0 0 0 0,4-3 0 0 0,0-2 0 0 0,-1 1 0 0 0,4 0 0 0 0,5-1 0 0 0,-1 2 0 0 0,-6 5 0 0 0,-1 0 0 0 0,-5 2 0 0 0,-4-2 0 0 0,-1 2 0 0 0,-5-2 0 0 0,-1-4 0 0 0,1 2 0 0 0,2 3 0 0 0,7-1 0 0 0,3 2 0 0 0,7-2 0 0 0,0 1 0 0 0,-1 4 0 0 0,-2 2 0 0 0,-2 3 0 0 0,-3 2 0 0 0,-1 2 0 0 0,-1 0 0 0 0,-1 0 0 0 0,0 1 0 0 0,-5-1 0 0 0,-1 1 0 0 0,0-1 0 0 0,1 0 0 0 0,1 0 0 0 0,-2 0 0 0 0,-2 0 0 0 0,2 0 0 0 0,2 0 0 0 0,-4 0 0 0 0,0 0 0 0 0,-4 0 0 0 0,1 0 0 0 0,-3 0 0 0 0,1 0 0 0 0,3 0 0 0 0,-2 0 0 0 0,-3 0 0 0 0,0 0 0 0 0,4 0 0 0 0,3 0 0 0 0,3 0 0 0 0,2 0 0 0 0,3 5 0 0 0,5 6 0 0 0,-2 2 0 0 0,-8 3 0 0 0,-1 4 0 0 0,-1-2 0 0 0,2-3 0 0 0,-4 0 0 0 0,0-3 0 0 0,7 3 0 0 0,3-3 0 0 0,2-2 0 0 0,0-4 0 0 0,0-2 0 0 0,0-2 0 0 0,-2-1 0 0 0,5-2 0 0 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0754 8167 16383 0 0,'-5'0'0'0'0,"-11"0"0"0"0,-8 0 0 0 0,-5 0 0 0 0,-7 0 0 0 0,-16 0 0 0 0,-10 0 0 0 0,1 0 0 0 0,1 0 0 0 0,-9 0 0 0 0,3 0 0 0 0,3 0 0 0 0,2 0 0 0 0,-8 0 0 0 0,3 0 0 0 0,3 0 0 0 0,3 0 0 0 0,1 0 0 0 0,1 0 0 0 0,1 0 0 0 0,-4 0 0 0 0,-2 0 0 0 0,0 0 0 0 0,1 0 0 0 0,2 0 0 0 0,0 0 0 0 0,-3 0 0 0 0,-1 0 0 0 0,1 0 0 0 0,1 0 0 0 0,6 0 0 0 0,3 0 0 0 0,6 0 0 0 0,6 0 0 0 0,0 0 0 0 0,2 0 0 0 0,3 0 0 0 0,3 0 0 0 0,2 0 0 0 0,1 0 0 0 0,2 0 0 0 0,-1 0 0 0 0,6 5 0 0 0,2 6 0 0 0,-1 1 0 0 0,-2 4 0 0 0,-1 4 0 0 0,-1-1 0 0 0,4 0 0 0 0,5 3 0 0 0,1 1 0 0 0,-2 3 0 0 0,3 1 0 0 0,3 1 0 0 0,4 1 0 0 0,3 0 0 0 0,3 0 0 0 0,1 0 0 0 0,2 0 0 0 0,-1 0 0 0 0,1-1 0 0 0,0 1 0 0 0,-1 5 0 0 0,5-4 0 0 0,2-2 0 0 0,-1-1 0 0 0,4 5 0 0 0,0 2 0 0 0,3 0 0 0 0,0 4 0 0 0,2-5 0 0 0,-1-3 0 0 0,-4 4 0 0 0,3 0 0 0 0,-3-1 0 0 0,4 0 0 0 0,3-7 0 0 0,4 2 0 0 0,3 2 0 0 0,2-5 0 0 0,2-1 0 0 0,-4-1 0 0 0,-6 2 0 0 0,-1 0 0 0 0,1-3 0 0 0,3-1 0 0 0,2 1 0 0 0,7 2 0 0 0,4-4 0 0 0,-5 0 0 0 0,4 2 0 0 0,-1 1 0 0 0,1 2 0 0 0,-1-3 0 0 0,3-1 0 0 0,7-3 0 0 0,4-1 0 0 0,1 2 0 0 0,-4 3 0 0 0,6 2 0 0 0,4 3 0 0 0,3 0 0 0 0,1-3 0 0 0,2-2 0 0 0,-1-4 0 0 0,1 0 0 0 0,-6-4 0 0 0,-2-3 0 0 0,6 0 0 0 0,1-1 0 0 0,2 3 0 0 0,0-2 0 0 0,0 3 0 0 0,-1-1 0 0 0,-1-3 0 0 0,0-3 0 0 0,-1-2 0 0 0,-4-3 0 0 0,-3-1 0 0 0,-4-2 0 0 0,0 1 0 0 0,-3-1 0 0 0,0 1 0 0 0,3-1 0 0 0,-1 1 0 0 0,1 0 0 0 0,3 0 0 0 0,-3 0 0 0 0,1 0 0 0 0,3-5 0 0 0,1-2 0 0 0,-2 1 0 0 0,0-4 0 0 0,2 1 0 0 0,-9-5 0 0 0,-1 2 0 0 0,3-3 0 0 0,-3 1 0 0 0,-2-2 0 0 0,1 3 0 0 0,-1-3 0 0 0,-7-2 0 0 0,1-4 0 0 0,-5-3 0 0 0,-3 4 0 0 0,-1 4 0 0 0,1-4 0 0 0,0-4 0 0 0,7-6 0 0 0,2-9 0 0 0,5-7 0 0 0,1-5 0 0 0,-2-3 0 0 0,-2-3 0 0 0,-3 4 0 0 0,-1 12 0 0 0,-2 7 0 0 0,-6 6 0 0 0,-2 2 0 0 0,0 1 0 0 0,-4 0 0 0 0,0-1 0 0 0,2 5 0 0 0,-2 1 0 0 0,0 4 0 0 0,-3 1 0 0 0,-4-3 0 0 0,-3-3 0 0 0,-4-2 0 0 0,-2-2 0 0 0,-2-1 0 0 0,0-2 0 0 0,-1 0 0 0 0,0 0 0 0 0,0 0 0 0 0,1 0 0 0 0,0 0 0 0 0,-1 0 0 0 0,-4 1 0 0 0,-6-1 0 0 0,-2 0 0 0 0,-2 1 0 0 0,0-1 0 0 0,-2 1 0 0 0,2-1 0 0 0,-1 5 0 0 0,-3 2 0 0 0,-3 5 0 0 0,2-1 0 0 0,-5-1 0 0 0,-3-2 0 0 0,-2-3 0 0 0,-1-2 0 0 0,1 4 0 0 0,0 0 0 0 0,0-1 0 0 0,-4 4 0 0 0,-2 5 0 0 0,1-1 0 0 0,2-1 0 0 0,1-4 0 0 0,1 2 0 0 0,1-1 0 0 0,1 3 0 0 0,1 3 0 0 0,-1 1 0 0 0,1-4 0 0 0,0 1 0 0 0,4-1 0 0 0,2 1 0 0 0,0 4 0 0 0,-2 3 0 0 0,-1 4 0 0 0,4-3 0 0 0,0 0 0 0 0,-1-4 0 0 0,-2 0 0 0 0,4-3 0 0 0,-1 1 0 0 0,0-2 0 0 0,-3 1 0 0 0,-1 4 0 0 0,-1 2 0 0 0,-2 4 0 0 0,-1-3 0 0 0,0 0 0 0 0,1 1 0 0 0,-1 1 0 0 0,0 2 0 0 0,0 2 0 0 0,0 0 0 0 0,0 1 0 0 0,1 0 0 0 0,-1 0 0 0 0,1 1 0 0 0,-1-1 0 0 0,5 0 0 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2888 4551 16383 0 0,'-9'0'0'0'0,"-19"0"0"0"0,-23 0 0 0 0,-23 0 0 0 0,-13 0 0 0 0,-21 0 0 0 0,-17 0 0 0 0,-6 0 0 0 0,-5-9 0 0 0,-4-9 0 0 0,2-1 0 0 0,11 3 0 0 0,1 4 0 0 0,9 4 0 0 0,9 3 0 0 0,9 3 0 0 0,10 2 0 0 0,12 0 0 0 0,9 1 0 0 0,11 0 0 0 0,10 0 0 0 0,9-1 0 0 0,5 0 0 0 0,4 1 0 0 0,2-1 0 0 0,1 0 0 0 0,-1 0 0 0 0,-5 0 0 0 0,-1 0 0 0 0,-1 0 0 0 0,0 0 0 0 0,2 0 0 0 0,-3 0 0 0 0,-1 0 0 0 0,0 0 0 0 0,2 0 0 0 0,2 0 0 0 0,2 0 0 0 0,0 0 0 0 0,2 0 0 0 0,-1 0 0 0 0,1 0 0 0 0,-1 4 0 0 0,1 3 0 0 0,0-1 0 0 0,-1-1 0 0 0,6 3 0 0 0,-4 6 0 0 0,-2 0 0 0 0,-1 2 0 0 0,0-1 0 0 0,0-3 0 0 0,0-4 0 0 0,1 2 0 0 0,5 4 0 0 0,1-1 0 0 0,6 3 0 0 0,0 3 0 0 0,3 4 0 0 0,-1 2 0 0 0,2 2 0 0 0,-1 1 0 0 0,1 1 0 0 0,3 0 0 0 0,-2 1 0 0 0,2-1 0 0 0,-3-5 0 0 0,1-2 0 0 0,-2 1 0 0 0,1 1 0 0 0,2 1 0 0 0,4 6 0 0 0,3 3 0 0 0,2 0 0 0 0,1 0 0 0 0,1-2 0 0 0,1-1 0 0 0,-1-1 0 0 0,1-1 0 0 0,-1 0 0 0 0,1 0 0 0 0,-1-1 0 0 0,0 1 0 0 0,0-1 0 0 0,0 0 0 0 0,5 1 0 0 0,1-1 0 0 0,0 1 0 0 0,-1 0 0 0 0,-1-1 0 0 0,-2 1 0 0 0,4-5 0 0 0,1-2 0 0 0,-1 0 0 0 0,4 2 0 0 0,0 1 0 0 0,-2 1 0 0 0,2-3 0 0 0,6-2 0 0 0,-2 2 0 0 0,3 1 0 0 0,3 1 0 0 0,3 2 0 0 0,-2 0 0 0 0,0-3 0 0 0,1-2 0 0 0,2 1 0 0 0,-4 1 0 0 0,1 1 0 0 0,1-3 0 0 0,1-6 0 0 0,-2 0 0 0 0,4-4 0 0 0,3 2 0 0 0,2-2 0 0 0,0-3 0 0 0,0-2 0 0 0,0-4 0 0 0,0 4 0 0 0,4 0 0 0 0,1 3 0 0 0,5 1 0 0 0,0 3 0 0 0,-2-1 0 0 0,-2-2 0 0 0,-3 1 0 0 0,3-1 0 0 0,5-2 0 0 0,1 1 0 0 0,-3 5 0 0 0,-2 0 0 0 0,2-4 0 0 0,-1-2 0 0 0,3-4 0 0 0,4 3 0 0 0,4-1 0 0 0,4 0 0 0 0,-3-3 0 0 0,-4-1 0 0 0,-1-1 0 0 0,11-2 0 0 0,7 0 0 0 0,6 0 0 0 0,2 0 0 0 0,8-1 0 0 0,5 1 0 0 0,-2 0 0 0 0,0 0 0 0 0,-5 0 0 0 0,-5 0 0 0 0,-5 0 0 0 0,-5 0 0 0 0,-3 0 0 0 0,-6 0 0 0 0,-3 0 0 0 0,-5 0 0 0 0,0 0 0 0 0,1 0 0 0 0,-1 0 0 0 0,-4 0 0 0 0,0 0 0 0 0,4 0 0 0 0,4 0 0 0 0,2 0 0 0 0,-1 0 0 0 0,-5-5 0 0 0,14-2 0 0 0,7-4 0 0 0,2 0 0 0 0,-1 1 0 0 0,3-7 0 0 0,-1 0 0 0 0,2 2 0 0 0,-5 4 0 0 0,0 3 0 0 0,3 4 0 0 0,0 2 0 0 0,-7-3 0 0 0,-9-1 0 0 0,-4 0 0 0 0,-5-3 0 0 0,-6 0 0 0 0,-4-4 0 0 0,2 1 0 0 0,0 2 0 0 0,-2-2 0 0 0,-1 1 0 0 0,-7-2 0 0 0,-3 0 0 0 0,0 4 0 0 0,6-3 0 0 0,2 1 0 0 0,1 3 0 0 0,0-3 0 0 0,0 2 0 0 0,-2 1 0 0 0,0-3 0 0 0,-1 1 0 0 0,0 2 0 0 0,0 3 0 0 0,-5-4 0 0 0,-7-4 0 0 0,3 0 0 0 0,-1-3 0 0 0,1 1 0 0 0,-3-1 0 0 0,0 1 0 0 0,3 0 0 0 0,-3-4 0 0 0,-4-3 0 0 0,-4-7 0 0 0,-4-5 0 0 0,-2-9 0 0 0,-2-14 0 0 0,-2-1 0 0 0,-4 0 0 0 0,-3 4 0 0 0,2 2 0 0 0,0 5 0 0 0,2 5 0 0 0,-3 11 0 0 0,-1 4 0 0 0,1 3 0 0 0,2 1 0 0 0,-3 4 0 0 0,0 0 0 0 0,-4-2 0 0 0,-5-6 0 0 0,1-4 0 0 0,3-1 0 0 0,-1-1 0 0 0,2 1 0 0 0,2 1 0 0 0,4 1 0 0 0,-2 6 0 0 0,0 1 0 0 0,-4 1 0 0 0,1-2 0 0 0,-8-1 0 0 0,-5-1 0 0 0,1-1 0 0 0,-1 4 0 0 0,5 0 0 0 0,0 1 0 0 0,3-2 0 0 0,0 3 0 0 0,-2 1 0 0 0,-4 4 0 0 0,-2-1 0 0 0,-2-2 0 0 0,-7 2 0 0 0,3 0 0 0 0,-3-4 0 0 0,-2 4 0 0 0,1-2 0 0 0,2-1 0 0 0,0 1 0 0 0,2 6 0 0 0,1 3 0 0 0,0 0 0 0 0,0 1 0 0 0,1 2 0 0 0,-1 2 0 0 0,1 3 0 0 0,0 0 0 0 0,-1 2 0 0 0,1 0 0 0 0,-1 0 0 0 0,-4 1 0 0 0,-2-1 0 0 0,0 1 0 0 0,1-1 0 0 0,2 0 0 0 0,1 0 0 0 0,1 0 0 0 0,1 0 0 0 0,1 0 0 0 0,-1 0 0 0 0,1 0 0 0 0,0 0 0 0 0,-1 0 0 0 0,1 0 0 0 0,-1 0 0 0 0,1 0 0 0 0,-1 0 0 0 0,1 0 0 0 0,-1 0 0 0 0,0 0 0 0 0,1 0 0 0 0,-1 0 0 0 0,5 0 0 0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7091 2971 16383 0 0,'-5'0'0'0'0,"-11"0"0"0"0,-8 0 0 0 0,-5 0 0 0 0,-2 0 0 0 0,-1 0 0 0 0,-4 0 0 0 0,-6 0 0 0 0,-6 0 0 0 0,1 0 0 0 0,-2 0 0 0 0,-2 0 0 0 0,-2 0 0 0 0,3 0 0 0 0,5 0 0 0 0,1 0 0 0 0,3 0 0 0 0,3 5 0 0 0,-2 1 0 0 0,2 0 0 0 0,2-1 0 0 0,-2-1 0 0 0,4 3 0 0 0,5 0 0 0 0,1 0 0 0 0,1-2 0 0 0,-5-2 0 0 0,-2-1 0 0 0,1-1 0 0 0,0-1 0 0 0,1 0 0 0 0,2 0 0 0 0,0 0 0 0 0,1-1 0 0 0,0 1 0 0 0,-4 0 0 0 0,-2 0 0 0 0,0 0 0 0 0,2 0 0 0 0,1 0 0 0 0,1 0 0 0 0,2 0 0 0 0,0 0 0 0 0,-5 0 0 0 0,-6 0 0 0 0,-1 0 0 0 0,2 0 0 0 0,2 0 0 0 0,3 0 0 0 0,2 0 0 0 0,-3 0 0 0 0,-6 0 0 0 0,0 0 0 0 0,2 0 0 0 0,3 0 0 0 0,2 0 0 0 0,2 0 0 0 0,2 0 0 0 0,1 0 0 0 0,1 0 0 0 0,0 0 0 0 0,0 0 0 0 0,0 0 0 0 0,-1 0 0 0 0,1 0 0 0 0,-1 0 0 0 0,1 0 0 0 0,-6 0 0 0 0,-1 0 0 0 0,-4 0 0 0 0,-6 0 0 0 0,0 0 0 0 0,3 0 0 0 0,4 0 0 0 0,3 0 0 0 0,-2 0 0 0 0,1 0 0 0 0,1 0 0 0 0,-3 0 0 0 0,0 0 0 0 0,1 0 0 0 0,3 0 0 0 0,-3 0 0 0 0,0 0 0 0 0,2 0 0 0 0,1 0 0 0 0,2 0 0 0 0,2 5 0 0 0,0 6 0 0 0,2 7 0 0 0,-1-1 0 0 0,1-2 0 0 0,0 0 0 0 0,-1 4 0 0 0,1-3 0 0 0,5 2 0 0 0,0-3 0 0 0,6 1 0 0 0,0-2 0 0 0,3 2 0 0 0,4 2 0 0 0,3 4 0 0 0,4 2 0 0 0,1 3 0 0 0,2 0 0 0 0,1 2 0 0 0,-5-5 0 0 0,-2-1 0 0 0,0 0 0 0 0,2 1 0 0 0,0 2 0 0 0,2 0 0 0 0,1 2 0 0 0,1 0 0 0 0,0 1 0 0 0,0-1 0 0 0,0 1 0 0 0,5 0 0 0 0,2 0 0 0 0,4 0 0 0 0,1-1 0 0 0,-3 6 0 0 0,-1 1 0 0 0,-4 0 0 0 0,4-2 0 0 0,0-1 0 0 0,3-1 0 0 0,0-1 0 0 0,3-1 0 0 0,-1 0 0 0 0,3-6 0 0 0,2-1 0 0 0,-1 0 0 0 0,2 2 0 0 0,-4 0 0 0 0,2 3 0 0 0,2 0 0 0 0,3 1 0 0 0,3 1 0 0 0,2-5 0 0 0,-4 3 0 0 0,-1-3 0 0 0,1-5 0 0 0,-4-1 0 0 0,0 1 0 0 0,2-3 0 0 0,1 1 0 0 0,3-2 0 0 0,2 0 0 0 0,5-1 0 0 0,-2 1 0 0 0,-1-2 0 0 0,-1 2 0 0 0,-1-1 0 0 0,1-4 0 0 0,0-3 0 0 0,0-3 0 0 0,0 3 0 0 0,0 0 0 0 0,6 4 0 0 0,1-1 0 0 0,-5 4 0 0 0,-3-1 0 0 0,-1-2 0 0 0,5-4 0 0 0,-3 3 0 0 0,-2-2 0 0 0,0 4 0 0 0,1 0 0 0 0,0 2 0 0 0,0-1 0 0 0,1-3 0 0 0,1-3 0 0 0,-1 3 0 0 0,6-2 0 0 0,1-1 0 0 0,0-2 0 0 0,-2-2 0 0 0,0-1 0 0 0,-3-1 0 0 0,0-1 0 0 0,-1 4 0 0 0,0 2 0 0 0,-1 0 0 0 0,1-1 0 0 0,-1-2 0 0 0,5-1 0 0 0,2-1 0 0 0,0 0 0 0 0,-2-1 0 0 0,-1-1 0 0 0,4 1 0 0 0,0 0 0 0 0,0 0 0 0 0,-3-1 0 0 0,4 1 0 0 0,0 0 0 0 0,-1 0 0 0 0,2 0 0 0 0,-4 5 0 0 0,1 2 0 0 0,0-1 0 0 0,3-1 0 0 0,1-2 0 0 0,2 0 0 0 0,5-2 0 0 0,0-1 0 0 0,0 0 0 0 0,4 0 0 0 0,2 0 0 0 0,2-1 0 0 0,2 1 0 0 0,1 0 0 0 0,0 0 0 0 0,-4 0 0 0 0,-2 0 0 0 0,1 0 0 0 0,-5 0 0 0 0,1 0 0 0 0,-4 0 0 0 0,1 0 0 0 0,-3 0 0 0 0,-3 0 0 0 0,-4 0 0 0 0,2 0 0 0 0,4 0 0 0 0,1 0 0 0 0,-3 0 0 0 0,3 0 0 0 0,-2 0 0 0 0,2 0 0 0 0,0 0 0 0 0,-4 0 0 0 0,-3 0 0 0 0,-2 0 0 0 0,-2 0 0 0 0,3 0 0 0 0,1 0 0 0 0,-1 0 0 0 0,4 0 0 0 0,0 0 0 0 0,-1 0 0 0 0,2 0 0 0 0,0 0 0 0 0,-2 0 0 0 0,-3-5 0 0 0,-1-1 0 0 0,2-5 0 0 0,1-1 0 0 0,-1 2 0 0 0,-2 3 0 0 0,-1 3 0 0 0,-2-4 0 0 0,-1-4 0 0 0,5-1 0 0 0,1-3 0 0 0,-1 1 0 0 0,0 4 0 0 0,-2 3 0 0 0,-7-2 0 0 0,-6-3 0 0 0,-3-6 0 0 0,1 2 0 0 0,3 3 0 0 0,-2-1 0 0 0,1-3 0 0 0,1 2 0 0 0,-2-1 0 0 0,1-3 0 0 0,-3-3 0 0 0,0-2 0 0 0,3-2 0 0 0,-2-1 0 0 0,1 0 0 0 0,2 3 0 0 0,3 3 0 0 0,-3-1 0 0 0,-4-1 0 0 0,-6-6 0 0 0,-3-4 0 0 0,-4 1 0 0 0,-3 0 0 0 0,0-4 0 0 0,-1-1 0 0 0,0 2 0 0 0,0 2 0 0 0,1 1 0 0 0,-1-2 0 0 0,1-1 0 0 0,0-4 0 0 0,0 0 0 0 0,0 2 0 0 0,0 3 0 0 0,0 2 0 0 0,0 2 0 0 0,0 1 0 0 0,0 1 0 0 0,-5 1 0 0 0,-6 0 0 0 0,-7 5 0 0 0,1 1 0 0 0,-3 0 0 0 0,-2 3 0 0 0,3 1 0 0 0,-1 2 0 0 0,-2 0 0 0 0,-1 3 0 0 0,2-2 0 0 0,1-3 0 0 0,-2 1 0 0 0,3 0 0 0 0,0 1 0 0 0,-1 0 0 0 0,-3 2 0 0 0,-2-2 0 0 0,-2-2 0 0 0,0-4 0 0 0,3-2 0 0 0,2-2 0 0 0,-1-2 0 0 0,-1 4 0 0 0,-2 6 0 0 0,0 6 0 0 0,3 1 0 0 0,1 1 0 0 0,5-2 0 0 0,-1 2 0 0 0,-1-4 0 0 0,-3 2 0 0 0,-2 2 0 0 0,-2-2 0 0 0,-1 2 0 0 0,3-4 0 0 0,2-3 0 0 0,-1 1 0 0 0,-6 3 0 0 0,-3 4 0 0 0,-1-1 0 0 0,5-5 0 0 0,3 2 0 0 0,0 1 0 0 0,0 0 0 0 0,-1 0 0 0 0,0 3 0 0 0,-2 3 0 0 0,0 3 0 0 0,0 1 0 0 0,-1 1 0 0 0,1 2 0 0 0,-1-1 0 0 0,0 1 0 0 0,0-1 0 0 0,1 0 0 0 0,-1 1 0 0 0,0-1 0 0 0,1 0 0 0 0,-1 0 0 0 0,0 0 0 0 0,1 0 0 0 0,-1 0 0 0 0,1 0 0 0 0,-1 0 0 0 0,0 0 0 0 0,1 0 0 0 0,-1 0 0 0 0,1 0 0 0 0,4 5 0 0 0,2 1 0 0 0,-1 0 0 0 0,0 4 0 0 0,-2 0 0 0 0,-2-1 0 0 0,5-3 0 0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6068 9962 16383 0 0,'-5'0'0'0'0,"-6"0"0"0"0,-7 0 0 0 0,-4 0 0 0 0,-4 0 0 0 0,-2 0 0 0 0,-2 0 0 0 0,0 0 0 0 0,1 0 0 0 0,-1 0 0 0 0,1 0 0 0 0,-1 0 0 0 0,-3 0 0 0 0,-3 0 0 0 0,2 0 0 0 0,0 0 0 0 0,2 0 0 0 0,1 0 0 0 0,2 0 0 0 0,0-5 0 0 0,0-1 0 0 0,1-1 0 0 0,-1 2 0 0 0,1 2 0 0 0,0 1 0 0 0,-1 1 0 0 0,1 0 0 0 0,-1 1 0 0 0,0 0 0 0 0,1 1 0 0 0,-1-1 0 0 0,1 0 0 0 0,-1 0 0 0 0,0 0 0 0 0,1 0 0 0 0,4 5 0 0 0,2 2 0 0 0,-1 4 0 0 0,0 0 0 0 0,-2 4 0 0 0,3 3 0 0 0,1 0 0 0 0,-1-5 0 0 0,4 2 0 0 0,4 2 0 0 0,0-1 0 0 0,2 1 0 0 0,3 3 0 0 0,4 3 0 0 0,2 2 0 0 0,-3-3 0 0 0,-1-1 0 0 0,1 2 0 0 0,-3-4 0 0 0,-1 0 0 0 0,3 2 0 0 0,1 2 0 0 0,2 2 0 0 0,2 1 0 0 0,1 2 0 0 0,6-4 0 0 0,1-2 0 0 0,6-4 0 0 0,0-1 0 0 0,3-2 0 0 0,3 0 0 0 0,0 3 0 0 0,-4 3 0 0 0,0-2 0 0 0,-1 1 0 0 0,1-4 0 0 0,3-3 0 0 0,0 0 0 0 0,-5 3 0 0 0,2-2 0 0 0,-2 3 0 0 0,2-3 0 0 0,3-3 0 0 0,-1 2 0 0 0,-3 2 0 0 0,1 0 0 0 0,-2 2 0 0 0,-3 2 0 0 0,-3 4 0 0 0,-3 2 0 0 0,4-3 0 0 0,4 0 0 0 0,7-4 0 0 0,4-1 0 0 0,3 3 0 0 0,3-3 0 0 0,-4 1 0 0 0,-1-3 0 0 0,0-4 0 0 0,2-3 0 0 0,1-4 0 0 0,1-2 0 0 0,-4 3 0 0 0,-2 1 0 0 0,2 0 0 0 0,1-2 0 0 0,1-1 0 0 0,2-2 0 0 0,0 0 0 0 0,1-1 0 0 0,1 0 0 0 0,5 0 0 0 0,1 0 0 0 0,0 0 0 0 0,-1-1 0 0 0,3 1 0 0 0,1 0 0 0 0,-2 0 0 0 0,-2 0 0 0 0,-2 0 0 0 0,-2 0 0 0 0,5 0 0 0 0,0 0 0 0 0,-1 0 0 0 0,0 0 0 0 0,-3 0 0 0 0,0 0 0 0 0,-2 0 0 0 0,0 0 0 0 0,0 0 0 0 0,-1 0 0 0 0,1 0 0 0 0,-1 0 0 0 0,0 0 0 0 0,1 0 0 0 0,-1 0 0 0 0,1 0 0 0 0,-5-5 0 0 0,-2-1 0 0 0,0 0 0 0 0,2 1 0 0 0,1 1 0 0 0,1 2 0 0 0,2 1 0 0 0,0 0 0 0 0,0 1 0 0 0,1 1 0 0 0,0-1 0 0 0,0 0 0 0 0,0 0 0 0 0,0 1 0 0 0,-1-1 0 0 0,1 0 0 0 0,0-5 0 0 0,4-2 0 0 0,2 1 0 0 0,0 1 0 0 0,-2 2 0 0 0,0 0 0 0 0,-3 2 0 0 0,-5-4 0 0 0,-2-1 0 0 0,-1 0 0 0 0,-3-4 0 0 0,-1 0 0 0 0,2 2 0 0 0,-2-3 0 0 0,0 1 0 0 0,2 2 0 0 0,2 2 0 0 0,3 2 0 0 0,-3-3 0 0 0,-1 0 0 0 0,-3-4 0 0 0,-1-5 0 0 0,3 0 0 0 0,2 3 0 0 0,-3-1 0 0 0,1 2 0 0 0,1 2 0 0 0,-2-1 0 0 0,-5-4 0 0 0,0 1 0 0 0,-2-3 0 0 0,2-2 0 0 0,3 1 0 0 0,3-1 0 0 0,-1-2 0 0 0,-4-2 0 0 0,-4-3 0 0 0,-5-1 0 0 0,-3-1 0 0 0,-2 0 0 0 0,-1-1 0 0 0,-1 0 0 0 0,0 0 0 0 0,-4 0 0 0 0,-2 0 0 0 0,0 0 0 0 0,-3 5 0 0 0,0 2 0 0 0,1 0 0 0 0,-2 3 0 0 0,1 0 0 0 0,1-1 0 0 0,-1 3 0 0 0,0-2 0 0 0,-3 4 0 0 0,0-1 0 0 0,-1 2 0 0 0,1-1 0 0 0,-3-3 0 0 0,-2 1 0 0 0,1-1 0 0 0,-1 3 0 0 0,-3-1 0 0 0,3-3 0 0 0,-1 1 0 0 0,-2 5 0 0 0,3-1 0 0 0,-1 2 0 0 0,-2 4 0 0 0,-2 2 0 0 0,-2 2 0 0 0,4-2 0 0 0,-1-1 0 0 0,0 1 0 0 0,-2 2 0 0 0,-2 1 0 0 0,-1 1 0 0 0,0 2 0 0 0,-2-1 0 0 0,0 2 0 0 0,1-1 0 0 0,-1 0 0 0 0,0 0 0 0 0,0 1 0 0 0,0-1 0 0 0,1 0 0 0 0,-1 0 0 0 0,0 0 0 0 0,1 0 0 0 0,-1 0 0 0 0,1 0 0 0 0,-1 0 0 0 0,0 0 0 0 0,1 0 0 0 0,-1 0 0 0 0,1 0 0 0 0,-1 0 0 0 0,0 0 0 0 0,1 0 0 0 0,-1 5 0 0 0,1 1 0 0 0,-1 0 0 0 0,0-1 0 0 0,1-1 0 0 0,-1-2 0 0 0,0-1 0 0 0,1 0 0 0 0,-1-1 0 0 0,1-1 0 0 0,-1 1 0 0 0,0 0 0 0 0,1 0 0 0 0,-1-1 0 0 0,1 1 0 0 0,-1 0 0 0 0,0 0 0 0 0,1 5 0 0 0,-1 2 0 0 0,1-1 0 0 0,4-1 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0:20.37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 0,'19028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0:34.35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91 0,'18939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1:19.57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5 0,'12273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1:27.84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 0,'12679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1:55.52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 0,'18121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5-01-08T10:12:11.05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0 0,'18167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4251 2902 16383 0 0,'-10'0'0'0'0,"-8"0"0"0"0,-10 0 0 0 0,-6 0 0 0 0,-7 0 0 0 0,0 0 0 0 0,-5 0 0 0 0,3 0 0 0 0,2 0 0 0 0,-1 0 0 0 0,2 0 0 0 0,2 0 0 0 0,4 0 0 0 0,2 0 0 0 0,1 0 0 0 0,2 0 0 0 0,1 0 0 0 0,0 0 0 0 0,-5 0 0 0 0,-2 0 0 0 0,1 0 0 0 0,1 0 0 0 0,-4 0 0 0 0,0 0 0 0 0,1 0 0 0 0,2 0 0 0 0,-3 0 0 0 0,-1 0 0 0 0,-2 0 0 0 0,0 0 0 0 0,2 0 0 0 0,2 0 0 0 0,-2 0 0 0 0,1 0 0 0 0,1 0 0 0 0,-2 0 0 0 0,-5 0 0 0 0,0 0 0 0 0,2 0 0 0 0,4 0 0 0 0,3 0 0 0 0,2 0 0 0 0,3 0 0 0 0,0 4 0 0 0,1 3 0 0 0,0-1 0 0 0,0-1 0 0 0,4 3 0 0 0,3 1 0 0 0,-1 3 0 0 0,-2 0 0 0 0,4 3 0 0 0,0-2 0 0 0,-6 3 0 0 0,-4-2 0 0 0,-1-4 0 0 0,4 2 0 0 0,2-1 0 0 0,1-3 0 0 0,-1-2 0 0 0,4 2 0 0 0,1 5 0 0 0,-2 0 0 0 0,-1-2 0 0 0,3 2 0 0 0,0 4 0 0 0,-2 3 0 0 0,-1 4 0 0 0,-2 2 0 0 0,-2-3 0 0 0,-1 0 0 0 0,5 0 0 0 0,5 1 0 0 0,2-3 0 0 0,3-1 0 0 0,-1-3 0 0 0,-3-5 0 0 0,-3 1 0 0 0,-4 2 0 0 0,3 4 0 0 0,0 9 0 0 0,3 4 0 0 0,6 1 0 0 0,3 1 0 0 0,5-2 0 0 0,2 0 0 0 0,1-2 0 0 0,2 0 0 0 0,0-1 0 0 0,0 0 0 0 0,0-1 0 0 0,-1 1 0 0 0,1-1 0 0 0,-1 0 0 0 0,0 1 0 0 0,0-1 0 0 0,0 1 0 0 0,0 0 0 0 0,0-1 0 0 0,0 1 0 0 0,5-1 0 0 0,6 1 0 0 0,6 0 0 0 0,6-6 0 0 0,-2 0 0 0 0,1-1 0 0 0,-4 2 0 0 0,0-4 0 0 0,3-5 0 0 0,1 0 0 0 0,3-3 0 0 0,1 1 0 0 0,2-1 0 0 0,0 3 0 0 0,1-3 0 0 0,0-2 0 0 0,0 2 0 0 0,0-2 0 0 0,0-2 0 0 0,-5 3 0 0 0,-2-1 0 0 0,6 2 0 0 0,2 0 0 0 0,1-2 0 0 0,0-3 0 0 0,5 2 0 0 0,1 0 0 0 0,-1-2 0 0 0,-2-3 0 0 0,3 4 0 0 0,6 5 0 0 0,-1 1 0 0 0,-2-3 0 0 0,2-3 0 0 0,3 2 0 0 0,0 0 0 0 0,-4-3 0 0 0,1-1 0 0 0,3-3 0 0 0,-1-2 0 0 0,-3 0 0 0 0,-4-1 0 0 0,-3 0 0 0 0,-3-1 0 0 0,-1 1 0 0 0,-2-1 0 0 0,5 1 0 0 0,6 0 0 0 0,2 0 0 0 0,-2 0 0 0 0,-2 0 0 0 0,-3 0 0 0 0,-2 0 0 0 0,-2 0 0 0 0,4 0 0 0 0,1 0 0 0 0,-1 0 0 0 0,-1 0 0 0 0,-1 0 0 0 0,-2 0 0 0 0,0 0 0 0 0,3 0 0 0 0,3 0 0 0 0,3 0 0 0 0,1 0 0 0 0,3 0 0 0 0,-1 0 0 0 0,2 0 0 0 0,3 0 0 0 0,9 0 0 0 0,4 0 0 0 0,2 0 0 0 0,-1 0 0 0 0,0 0 0 0 0,-1 0 0 0 0,0 0 0 0 0,-7 0 0 0 0,-7 0 0 0 0,-6 0 0 0 0,-5 0 0 0 0,1 0 0 0 0,-1 0 0 0 0,3 0 0 0 0,1 0 0 0 0,-2 0 0 0 0,-2 0 0 0 0,2 0 0 0 0,0 0 0 0 0,-1 0 0 0 0,-2 0 0 0 0,-2 0 0 0 0,-2 0 0 0 0,-1 0 0 0 0,0 0 0 0 0,-1-5 0 0 0,1-6 0 0 0,-1-2 0 0 0,0-3 0 0 0,1 1 0 0 0,-1 3 0 0 0,1-1 0 0 0,-1 1 0 0 0,-4-1 0 0 0,-2 0 0 0 0,0 4 0 0 0,2 2 0 0 0,1 3 0 0 0,-3-3 0 0 0,-1 0 0 0 0,1-4 0 0 0,-4-5 0 0 0,-4-4 0 0 0,0-4 0 0 0,-2-3 0 0 0,2 3 0 0 0,2-3 0 0 0,0-3 0 0 0,1-1 0 0 0,3 5 0 0 0,-2-3 0 0 0,1-1 0 0 0,-3-1 0 0 0,1 1 0 0 0,-3 0 0 0 0,-3 0 0 0 0,1 1 0 0 0,-2 0 0 0 0,3 0 0 0 0,-1 0 0 0 0,2 6 0 0 0,-1 1 0 0 0,-3-1 0 0 0,-3 0 0 0 0,-3-2 0 0 0,-2-2 0 0 0,-1 0 0 0 0,-1-1 0 0 0,0-1 0 0 0,-6 0 0 0 0,-1 1 0 0 0,0-1 0 0 0,-3 5 0 0 0,0 1 0 0 0,2 1 0 0 0,-3 3 0 0 0,-5 0 0 0 0,1-1 0 0 0,-2 3 0 0 0,2-2 0 0 0,-1 4 0 0 0,1-1 0 0 0,0 2 0 0 0,-4 4 0 0 0,2-2 0 0 0,-1-3 0 0 0,3-4 0 0 0,-2 1 0 0 0,3-2 0 0 0,-1 4 0 0 0,-4-1 0 0 0,-2 2 0 0 0,-4 4 0 0 0,4-1 0 0 0,-1-3 0 0 0,-5 0 0 0 0,1-1 0 0 0,1 1 0 0 0,-1-1 0 0 0,0 2 0 0 0,3-1 0 0 0,2 1 0 0 0,-1-1 0 0 0,-1 1 0 0 0,-3-1 0 0 0,0 2 0 0 0,-2 2 0 0 0,0 0 0 0 0,-1 0 0 0 0,0 3 0 0 0,1 2 0 0 0,-1 3 0 0 0,0 1 0 0 0,0 2 0 0 0,0 0 0 0 0,1 0 0 0 0,-1 1 0 0 0,1-1 0 0 0,-1 1 0 0 0,0-1 0 0 0,1 0 0 0 0,-1 0 0 0 0,1 0 0 0 0,-6 0 0 0 0,-1 0 0 0 0,0 0 0 0 0,2 0 0 0 0,1 0 0 0 0,1 0 0 0 0,1 0 0 0 0,1 0 0 0 0,0 0 0 0 0,1 0 0 0 0,0 0 0 0 0,-1 0 0 0 0,1 0 0 0 0,-1 0 0 0 0,1 0 0 0 0,-1 0 0 0 0,1 0 0 0 0,4 0 0 0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5-01-16T12:30:20.93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7039 4778 16383 0 0,'-5'0'0'0'0,"-11"0"0"0"0,-8 0 0 0 0,-14 0 0 0 0,-11 0 0 0 0,-12 0 0 0 0,-9 0 0 0 0,-3 0 0 0 0,-4 0 0 0 0,-3 0 0 0 0,-3 0 0 0 0,4 0 0 0 0,-5-10 0 0 0,7-3 0 0 0,12 1 0 0 0,7 2 0 0 0,4 3 0 0 0,1 3 0 0 0,0 1 0 0 0,5 2 0 0 0,-1 1 0 0 0,5 1 0 0 0,4-1 0 0 0,4 1 0 0 0,4-1 0 0 0,1-4 0 0 0,3-3 0 0 0,0 1 0 0 0,0 1 0 0 0,0 2 0 0 0,-5 1 0 0 0,-1 0 0 0 0,-1 2 0 0 0,-3 0 0 0 0,0 0 0 0 0,6-4 0 0 0,3-8 0 0 0,3 0 0 0 0,-5 1 0 0 0,3-2 0 0 0,-3 1 0 0 0,-1 2 0 0 0,-6 4 0 0 0,0 2 0 0 0,1 1 0 0 0,2 3 0 0 0,2 0 0 0 0,2 0 0 0 0,1 1 0 0 0,1-1 0 0 0,1-4 0 0 0,-1-2 0 0 0,-4 0 0 0 0,-1 1 0 0 0,-1 1 0 0 0,2 2 0 0 0,1 1 0 0 0,1 1 0 0 0,1 0 0 0 0,1 0 0 0 0,1 0 0 0 0,-1 0 0 0 0,-4 0 0 0 0,-2 1 0 0 0,1-1 0 0 0,0 0 0 0 0,2 0 0 0 0,1 0 0 0 0,2 0 0 0 0,-1 0 0 0 0,2 0 0 0 0,-1 0 0 0 0,1 0 0 0 0,0 0 0 0 0,-1 0 0 0 0,1 0 0 0 0,4 5 0 0 0,2 1 0 0 0,5 5 0 0 0,4 5 0 0 0,1 1 0 0 0,-3 1 0 0 0,-4 3 0 0 0,1 2 0 0 0,-1 3 0 0 0,3 2 0 0 0,4 0 0 0 0,-1 1 0 0 0,2 0 0 0 0,3 0 0 0 0,2 0 0 0 0,3 0 0 0 0,2 0 0 0 0,0 5 0 0 0,2 1 0 0 0,-1 0 0 0 0,1-2 0 0 0,-1-1 0 0 0,1-1 0 0 0,-1-1 0 0 0,0 4 0 0 0,0 1 0 0 0,0-1 0 0 0,0 0 0 0 0,0-2 0 0 0,0-2 0 0 0,5 0 0 0 0,1-1 0 0 0,5 4 0 0 0,1 2 0 0 0,2-5 0 0 0,5-3 0 0 0,-2-2 0 0 0,-3 1 0 0 0,0-5 0 0 0,-1 0 0 0 0,-4 0 0 0 0,2 2 0 0 0,4-3 0 0 0,4 0 0 0 0,4 1 0 0 0,3-3 0 0 0,1 1 0 0 0,-3 2 0 0 0,-1-3 0 0 0,0 0 0 0 0,-3 3 0 0 0,4-3 0 0 0,3-5 0 0 0,7-4 0 0 0,-3 2 0 0 0,-1-2 0 0 0,-2 2 0 0 0,0 1 0 0 0,0-3 0 0 0,5 2 0 0 0,2-1 0 0 0,-1 3 0 0 0,0-1 0 0 0,2 3 0 0 0,7-2 0 0 0,-1 2 0 0 0,3-1 0 0 0,-1 1 0 0 0,1 4 0 0 0,-2-2 0 0 0,-3-4 0 0 0,1-4 0 0 0,3 2 0 0 0,-1-2 0 0 0,-2-2 0 0 0,-5-2 0 0 0,3-2 0 0 0,-1 3 0 0 0,-3 1 0 0 0,4 4 0 0 0,-1 0 0 0 0,3-2 0 0 0,-5 3 0 0 0,-4-1 0 0 0,2-3 0 0 0,0 3 0 0 0,4-1 0 0 0,1-2 0 0 0,-2-2 0 0 0,13-2 0 0 0,2-3 0 0 0,-3 0 0 0 0,1-1 0 0 0,1 0 0 0 0,-4-1 0 0 0,1 1 0 0 0,6-1 0 0 0,-1 1 0 0 0,1 0 0 0 0,0 0 0 0 0,5 0 0 0 0,-1 0 0 0 0,3 0 0 0 0,6 0 0 0 0,6 0 0 0 0,1 0 0 0 0,6 0 0 0 0,10 0 0 0 0,4 0 0 0 0,-4 0 0 0 0,-3 0 0 0 0,3 0 0 0 0,1 0 0 0 0,0 0 0 0 0,-7 0 0 0 0,-6 0 0 0 0,-9 0 0 0 0,-4 0 0 0 0,-10 0 0 0 0,-9-5 0 0 0,-7-1 0 0 0,-1-1 0 0 0,-2-2 0 0 0,-2-1 0 0 0,-2-4 0 0 0,-2 2 0 0 0,0 2 0 0 0,3 2 0 0 0,2-1 0 0 0,-1 0 0 0 0,4 2 0 0 0,0 2 0 0 0,-6-3 0 0 0,-4 0 0 0 0,-1 1 0 0 0,-1-3 0 0 0,0 1 0 0 0,0-4 0 0 0,1 1 0 0 0,-4-3 0 0 0,-1 2 0 0 0,0-3 0 0 0,2 2 0 0 0,1-1 0 0 0,-3-4 0 0 0,-6-2 0 0 0,-5-9 0 0 0,-10-3 0 0 0,-5-1 0 0 0,-6 0 0 0 0,-7 1 0 0 0,0 2 0 0 0,3 1 0 0 0,-2 0 0 0 0,3 1 0 0 0,3-4 0 0 0,-2-7 0 0 0,2-1 0 0 0,-3 6 0 0 0,1 5 0 0 0,3-3 0 0 0,-3 0 0 0 0,2 0 0 0 0,-3 1 0 0 0,-4 1 0 0 0,1 1 0 0 0,3 1 0 0 0,-1 0 0 0 0,2 1 0 0 0,2-1 0 0 0,4 1 0 0 0,3-1 0 0 0,-4 6 0 0 0,0 1 0 0 0,1-1 0 0 0,2 0 0 0 0,-4 3 0 0 0,0 0 0 0 0,1-2 0 0 0,-3-1 0 0 0,0-2 0 0 0,2-1 0 0 0,-3-2 0 0 0,1-1 0 0 0,2 1 0 0 0,2-1 0 0 0,3 0 0 0 0,-4 5 0 0 0,-5 6 0 0 0,-6 7 0 0 0,-4 0 0 0 0,-3 2 0 0 0,-3 2 0 0 0,-1 3 0 0 0,-1 2 0 0 0,5-4 0 0 0,2-1 0 0 0,0 1 0 0 0,-1 2 0 0 0,-1 1 0 0 0,-2 1 0 0 0,0 1 0 0 0,-1 1 0 0 0,-1 0 0 0 0,0 0 0 0 0,0 1 0 0 0,1-1 0 0 0,-1 0 0 0 0,0 0 0 0 0,0 0 0 0 0,1 0 0 0 0,-1 0 0 0 0,0 0 0 0 0,1 0 0 0 0,-1 0 0 0 0,1 0 0 0 0,-1 0 0 0 0,0 0 0 0 0,-4 0 0 0 0,-2 0 0 0 0,0 0 0 0 0,2 0 0 0 0,5 0 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9D2F4D7-3181-43AB-BECD-4A13767D3566}" type="datetimeFigureOut">
              <a:rPr lang="fr-FR" smtClean="0">
                <a:latin typeface="Arial" panose="020B0604020202020204" pitchFamily="34" charset="0"/>
              </a:rPr>
              <a:pPr/>
              <a:t>20/01/2025</a:t>
            </a:fld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‹N°›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038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7489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4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6063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5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6092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6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9352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7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204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2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420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D74739-41D7-67E6-0B89-2E8824DD02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0CFC89D1-70ED-AB53-694B-6DF6812E6A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68F86A2-78E7-FD6B-8ED1-98DD38C76F2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1EB3D6A-4C16-ED6F-83BE-792F017799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3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63532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>
              <a:latin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6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880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8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036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9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3274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0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02313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2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7844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94BA8F-00C9-44D4-8D20-4E4E357C1EED}" type="slidenum">
              <a:rPr lang="fr-FR" smtClean="0">
                <a:latin typeface="Arial" panose="020B0604020202020204" pitchFamily="34" charset="0"/>
              </a:rPr>
              <a:pPr/>
              <a:t>13</a:t>
            </a:fld>
            <a:endParaRPr lang="fr-FR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7844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file:////Volumes/LOISIR/TRAVAIL%20LOLO/Pole%20Emploi/08_PPT%20Performance/imports/Logo%20PE.svg" TargetMode="Externa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file:////Volumes/2021-2022/TRAVAIL%20LOLO/Pole%20Emploi/13_Gabarit%20PPT%20pour%20Charte/Import/Illustration_DemandeurEmploi.png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file:////Volumes/2021-2022/TRAVAIL%20LOLO/Pole%20Emploi/13_Gabarit%20PPT%20pour%20Charte/Import/Envol_Email-01.svg" TargetMode="External"/><Relationship Id="rId4" Type="http://schemas.openxmlformats.org/officeDocument/2006/relationships/image" Target="../media/image10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file:////Volumes/LOISIR/TRAVAIL%20LOLO/Pole%20Emploi/08_PPT%20Performance/imports/Logo%20PE.svg" TargetMode="Externa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file:////Volumes/LOISIR/TRAVAIL%20LOLO/Pole%20Emploi/08_PPT%20Performance/imports/Logo%20PE.svg" TargetMode="Externa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07C460-F6CF-B157-9B35-9183C2F50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70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07C460-F6CF-B157-9B35-9183C2F50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10">
            <a:extLst>
              <a:ext uri="{FF2B5EF4-FFF2-40B4-BE49-F238E27FC236}">
                <a16:creationId xmlns:a16="http://schemas.microsoft.com/office/drawing/2014/main" id="{CB5343B9-4000-0D59-D0B9-3C600DB7EA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1055" y="388976"/>
            <a:ext cx="9020946" cy="6469024"/>
          </a:xfrm>
          <a:custGeom>
            <a:avLst/>
            <a:gdLst>
              <a:gd name="connsiteX0" fmla="*/ 4945505 w 9020946"/>
              <a:gd name="connsiteY0" fmla="*/ 0 h 6469024"/>
              <a:gd name="connsiteX1" fmla="*/ 5771187 w 9020946"/>
              <a:gd name="connsiteY1" fmla="*/ 161155 h 6469024"/>
              <a:gd name="connsiteX2" fmla="*/ 8936706 w 9020946"/>
              <a:gd name="connsiteY2" fmla="*/ 1984322 h 6469024"/>
              <a:gd name="connsiteX3" fmla="*/ 9020946 w 9020946"/>
              <a:gd name="connsiteY3" fmla="*/ 2056378 h 6469024"/>
              <a:gd name="connsiteX4" fmla="*/ 9020946 w 9020946"/>
              <a:gd name="connsiteY4" fmla="*/ 6469024 h 6469024"/>
              <a:gd name="connsiteX5" fmla="*/ 56808 w 9020946"/>
              <a:gd name="connsiteY5" fmla="*/ 6469024 h 6469024"/>
              <a:gd name="connsiteX6" fmla="*/ 31222 w 9020946"/>
              <a:gd name="connsiteY6" fmla="*/ 6170845 h 6469024"/>
              <a:gd name="connsiteX7" fmla="*/ 1 w 9020946"/>
              <a:gd name="connsiteY7" fmla="*/ 5252589 h 6469024"/>
              <a:gd name="connsiteX8" fmla="*/ 126073 w 9020946"/>
              <a:gd name="connsiteY8" fmla="*/ 3415976 h 6469024"/>
              <a:gd name="connsiteX9" fmla="*/ 954371 w 9020946"/>
              <a:gd name="connsiteY9" fmla="*/ 1984322 h 6469024"/>
              <a:gd name="connsiteX10" fmla="*/ 4119822 w 9020946"/>
              <a:gd name="connsiteY10" fmla="*/ 161155 h 6469024"/>
              <a:gd name="connsiteX11" fmla="*/ 4945505 w 9020946"/>
              <a:gd name="connsiteY11" fmla="*/ 0 h 64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20946" h="6469024">
                <a:moveTo>
                  <a:pt x="4945505" y="0"/>
                </a:moveTo>
                <a:cubicBezTo>
                  <a:pt x="5226075" y="0"/>
                  <a:pt x="5506646" y="53719"/>
                  <a:pt x="5771187" y="161155"/>
                </a:cubicBezTo>
                <a:cubicBezTo>
                  <a:pt x="6912831" y="624859"/>
                  <a:pt x="7976495" y="1241364"/>
                  <a:pt x="8936706" y="1984322"/>
                </a:cubicBezTo>
                <a:lnTo>
                  <a:pt x="9020946" y="2056378"/>
                </a:lnTo>
                <a:lnTo>
                  <a:pt x="9020946" y="6469024"/>
                </a:lnTo>
                <a:lnTo>
                  <a:pt x="56808" y="6469024"/>
                </a:lnTo>
                <a:lnTo>
                  <a:pt x="31222" y="6170845"/>
                </a:lnTo>
                <a:cubicBezTo>
                  <a:pt x="10258" y="5864562"/>
                  <a:pt x="-101" y="5558295"/>
                  <a:pt x="1" y="5252589"/>
                </a:cubicBezTo>
                <a:cubicBezTo>
                  <a:pt x="-203" y="4641109"/>
                  <a:pt x="41436" y="4027524"/>
                  <a:pt x="126073" y="3415976"/>
                </a:cubicBezTo>
                <a:cubicBezTo>
                  <a:pt x="204460" y="2849318"/>
                  <a:pt x="501911" y="2334409"/>
                  <a:pt x="954371" y="1984322"/>
                </a:cubicBezTo>
                <a:cubicBezTo>
                  <a:pt x="1914514" y="1241296"/>
                  <a:pt x="2978246" y="624859"/>
                  <a:pt x="4119822" y="161155"/>
                </a:cubicBezTo>
                <a:cubicBezTo>
                  <a:pt x="4384363" y="53719"/>
                  <a:pt x="4664934" y="0"/>
                  <a:pt x="494550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35556AE-0792-4A86-267C-E3B3100CD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96406" y="3172618"/>
            <a:ext cx="728664" cy="728664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84D5D1-C99C-5B24-C5D3-F357B9BD107F}"/>
              </a:ext>
            </a:extLst>
          </p:cNvPr>
          <p:cNvGrpSpPr/>
          <p:nvPr userDrawn="1"/>
        </p:nvGrpSpPr>
        <p:grpSpPr>
          <a:xfrm>
            <a:off x="574676" y="574676"/>
            <a:ext cx="2832100" cy="836100"/>
            <a:chOff x="574675" y="574675"/>
            <a:chExt cx="2957513" cy="873125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B90F13-BFED-F42E-3160-DAEFE8AA9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4675" y="574675"/>
              <a:ext cx="993800" cy="873125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675DEB7F-BF68-12E8-DF53-84EEBC7FB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771624" y="574675"/>
              <a:ext cx="1760564" cy="873125"/>
            </a:xfrm>
            <a:prstGeom prst="rect">
              <a:avLst/>
            </a:prstGeom>
          </p:spPr>
        </p:pic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0058CDAE-DA68-3DB6-CDA5-02E4FEC40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5302" y="3040381"/>
            <a:ext cx="7335836" cy="1907346"/>
          </a:xfrm>
        </p:spPr>
        <p:txBody>
          <a:bodyPr vert="horz" anchor="t"/>
          <a:lstStyle>
            <a:lvl1pPr>
              <a:defRPr lang="en-GB" sz="66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60A38F1-BA27-DF99-2E3E-4EE003EA0E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5301" y="5086350"/>
            <a:ext cx="5448300" cy="1196975"/>
          </a:xfrm>
        </p:spPr>
        <p:txBody>
          <a:bodyPr/>
          <a:lstStyle>
            <a:lvl1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2000" b="1" kern="1200" cap="all" spc="-2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his is a 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07972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60AD59-D9D5-7C64-F119-61EC0D4BB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8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0AD59-D9D5-7C64-F119-61EC0D4BB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932022-157D-1370-3310-AACB88CF8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1" y="1843991"/>
            <a:ext cx="6205537" cy="5014009"/>
          </a:xfrm>
          <a:custGeom>
            <a:avLst/>
            <a:gdLst>
              <a:gd name="connsiteX0" fmla="*/ 0 w 6046847"/>
              <a:gd name="connsiteY0" fmla="*/ 4885789 h 4885789"/>
              <a:gd name="connsiteX1" fmla="*/ 170126 w 6046847"/>
              <a:gd name="connsiteY1" fmla="*/ 4840091 h 4885789"/>
              <a:gd name="connsiteX2" fmla="*/ 381130 w 6046847"/>
              <a:gd name="connsiteY2" fmla="*/ 4766650 h 4885789"/>
              <a:gd name="connsiteX3" fmla="*/ 4824470 w 6046847"/>
              <a:gd name="connsiteY3" fmla="*/ 2303176 h 4885789"/>
              <a:gd name="connsiteX4" fmla="*/ 5999848 w 6046847"/>
              <a:gd name="connsiteY4" fmla="*/ 349430 h 4885789"/>
              <a:gd name="connsiteX5" fmla="*/ 6046847 w 6046847"/>
              <a:gd name="connsiteY5" fmla="*/ 0 h 4885789"/>
              <a:gd name="connsiteX6" fmla="*/ 0 w 6046847"/>
              <a:gd name="connsiteY6" fmla="*/ 0 h 48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6847" h="4885789">
                <a:moveTo>
                  <a:pt x="0" y="4885789"/>
                </a:moveTo>
                <a:lnTo>
                  <a:pt x="170126" y="4840091"/>
                </a:lnTo>
                <a:cubicBezTo>
                  <a:pt x="241132" y="4818239"/>
                  <a:pt x="311516" y="4793760"/>
                  <a:pt x="381130" y="4766650"/>
                </a:cubicBezTo>
                <a:cubicBezTo>
                  <a:pt x="1957046" y="4152868"/>
                  <a:pt x="3454842" y="3327794"/>
                  <a:pt x="4824470" y="2303176"/>
                </a:cubicBezTo>
                <a:cubicBezTo>
                  <a:pt x="5459151" y="1828356"/>
                  <a:pt x="5881345" y="1126520"/>
                  <a:pt x="5999848" y="349430"/>
                </a:cubicBezTo>
                <a:lnTo>
                  <a:pt x="6046847" y="0"/>
                </a:lnTo>
                <a:lnTo>
                  <a:pt x="0" y="0"/>
                </a:lnTo>
                <a:close/>
              </a:path>
            </a:pathLst>
          </a:custGeom>
          <a:solidFill>
            <a:srgbClr val="B0BFF0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72F42F-FE27-09E8-91A8-7BA1EB3875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4675" y="587374"/>
            <a:ext cx="4432300" cy="5241925"/>
          </a:xfrm>
        </p:spPr>
        <p:txBody>
          <a:bodyPr anchor="ctr"/>
          <a:lstStyle>
            <a:lvl1pPr algn="ctr">
              <a:defRPr sz="1200" b="1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443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533FCBD-DAE8-F5A3-E555-B5587B429A0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4630" y="1869439"/>
            <a:ext cx="5436508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7CFE410-8CFF-B7FB-4AEB-09F8DDDDD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5" name="Titre 14">
            <a:extLst>
              <a:ext uri="{FF2B5EF4-FFF2-40B4-BE49-F238E27FC236}">
                <a16:creationId xmlns:a16="http://schemas.microsoft.com/office/drawing/2014/main" id="{1C8D1F4F-83C7-1A41-DAC5-B43B16CDA0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434" y="380835"/>
            <a:ext cx="5439600" cy="13248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480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fr-FR" dirty="0"/>
              <a:t>Click </a:t>
            </a:r>
            <a:r>
              <a:rPr lang="fr-FR"/>
              <a:t>to edit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77FC4FD-7BA5-8C66-FB8D-0BB2E3B25E8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52CE2-86FD-14E7-8C4E-090F69AB1B8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108575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deux contenu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1A4A706-374B-9D30-F8E0-8CED29F57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701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4A706-374B-9D30-F8E0-8CED29F57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4CD58D7-78D8-5A17-A188-238F3302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0"/>
            <a:ext cx="1309535" cy="5204582"/>
          </a:xfrm>
          <a:custGeom>
            <a:avLst/>
            <a:gdLst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309535 w 1400975"/>
              <a:gd name="connsiteY0" fmla="*/ 5204582 h 5296022"/>
              <a:gd name="connsiteX1" fmla="*/ 121487 w 1400975"/>
              <a:gd name="connsiteY1" fmla="*/ 5204582 h 5296022"/>
              <a:gd name="connsiteX2" fmla="*/ 120441 w 1400975"/>
              <a:gd name="connsiteY2" fmla="*/ 5199379 h 5296022"/>
              <a:gd name="connsiteX3" fmla="*/ 1298653 w 1400975"/>
              <a:gd name="connsiteY3" fmla="*/ 11547 h 5296022"/>
              <a:gd name="connsiteX4" fmla="*/ 1309535 w 1400975"/>
              <a:gd name="connsiteY4" fmla="*/ 0 h 5296022"/>
              <a:gd name="connsiteX5" fmla="*/ 1400975 w 1400975"/>
              <a:gd name="connsiteY5" fmla="*/ 5296022 h 5296022"/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21487 w 1309535"/>
              <a:gd name="connsiteY0" fmla="*/ 5204582 h 5204582"/>
              <a:gd name="connsiteX1" fmla="*/ 120441 w 1309535"/>
              <a:gd name="connsiteY1" fmla="*/ 5199379 h 5204582"/>
              <a:gd name="connsiteX2" fmla="*/ 1298653 w 1309535"/>
              <a:gd name="connsiteY2" fmla="*/ 11547 h 5204582"/>
              <a:gd name="connsiteX3" fmla="*/ 1309535 w 1309535"/>
              <a:gd name="connsiteY3" fmla="*/ 0 h 520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9535" h="5204582">
                <a:moveTo>
                  <a:pt x="121487" y="5204582"/>
                </a:moveTo>
                <a:lnTo>
                  <a:pt x="120441" y="5199379"/>
                </a:lnTo>
                <a:cubicBezTo>
                  <a:pt x="-176764" y="3459435"/>
                  <a:pt x="25807" y="1522431"/>
                  <a:pt x="1298653" y="11547"/>
                </a:cubicBezTo>
                <a:lnTo>
                  <a:pt x="1309535" y="0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lIns="540000" tIns="360000" rIns="288000" rtlCol="0" anchor="t"/>
          <a:lstStyle/>
          <a:p>
            <a:pPr lvl="0"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B23A81C-0601-8D71-6316-415A0C023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6613" y="1910376"/>
            <a:ext cx="790575" cy="790575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3800" dirty="0">
                <a:solidFill>
                  <a:schemeClr val="accent3">
                    <a:alpha val="0"/>
                  </a:schemeClr>
                </a:solidFill>
                <a:latin typeface="+mn-lt"/>
              </a:defRPr>
            </a:lvl1pPr>
          </a:lstStyle>
          <a:p>
            <a:pPr lvl="0" algn="ctr">
              <a:spcAft>
                <a:spcPts val="0"/>
              </a:spcAft>
            </a:pPr>
            <a:endParaRPr lang="fr-FR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9B37FF7-EEC5-C617-9A0E-73FBD2B66A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1701" y="1975464"/>
            <a:ext cx="660400" cy="660400"/>
          </a:xfrm>
          <a:prstGeom prst="ellipse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16" name="Title 29">
            <a:extLst>
              <a:ext uri="{FF2B5EF4-FFF2-40B4-BE49-F238E27FC236}">
                <a16:creationId xmlns:a16="http://schemas.microsoft.com/office/drawing/2014/main" id="{8696F007-0692-050C-3E59-5803D154D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5185" y="574675"/>
            <a:ext cx="9720552" cy="711200"/>
          </a:xfrm>
        </p:spPr>
        <p:txBody>
          <a:bodyPr vert="horz" anchor="t"/>
          <a:lstStyle>
            <a:lvl1pPr>
              <a:defRPr sz="4800" spc="-2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</a:t>
            </a:r>
            <a:endParaRPr lang="fr-FR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A77F08A-B5CB-709C-4BD6-D127EAA251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95187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pic>
        <p:nvPicPr>
          <p:cNvPr id="8" name="Graphic 1">
            <a:extLst>
              <a:ext uri="{FF2B5EF4-FFF2-40B4-BE49-F238E27FC236}">
                <a16:creationId xmlns:a16="http://schemas.microsoft.com/office/drawing/2014/main" id="{53A8FFC1-B893-1D6B-1858-69770A7DB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22C13602-EAC4-1F00-D9C9-4B49878515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59323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1200"/>
              </a:spcAft>
              <a:defRPr sz="1200">
                <a:latin typeface="+mn-lt"/>
              </a:defRPr>
            </a:lvl3pPr>
            <a:lvl4pPr>
              <a:spcAft>
                <a:spcPts val="1200"/>
              </a:spcAft>
              <a:defRPr sz="1200">
                <a:latin typeface="+mn-lt"/>
              </a:defRPr>
            </a:lvl4pPr>
            <a:lvl5pPr>
              <a:spcAft>
                <a:spcPts val="1200"/>
              </a:spcAft>
              <a:defRPr sz="1200">
                <a:latin typeface="+mn-lt"/>
              </a:defRPr>
            </a:lvl5pPr>
            <a:lvl6pPr>
              <a:spcAft>
                <a:spcPts val="1200"/>
              </a:spcAft>
              <a:defRPr sz="1200">
                <a:latin typeface="+mn-lt"/>
              </a:defRPr>
            </a:lvl6pPr>
            <a:lvl7pPr>
              <a:spcAft>
                <a:spcPts val="1200"/>
              </a:spcAft>
              <a:defRPr sz="1200">
                <a:latin typeface="+mn-lt"/>
              </a:defRPr>
            </a:lvl7pPr>
            <a:lvl8pPr>
              <a:spcAft>
                <a:spcPts val="1200"/>
              </a:spcAft>
              <a:defRPr sz="1200">
                <a:latin typeface="+mn-lt"/>
              </a:defRPr>
            </a:lvl8pPr>
            <a:lvl9pPr>
              <a:spcAft>
                <a:spcPts val="1200"/>
              </a:spcAft>
              <a:defRPr sz="1200"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AFE0A7-2F66-D4DA-BD76-32D0296E5195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1F30017-7B94-B163-F393-59C8CAA229C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50027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535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08B8A33-A560-179D-82DB-3D758F1E0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4" y="380072"/>
            <a:ext cx="10743293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3069417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269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250471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onnes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photo, sombre, lumière, grand&#10;&#10;Description générée automatiquement">
            <a:extLst>
              <a:ext uri="{FF2B5EF4-FFF2-40B4-BE49-F238E27FC236}">
                <a16:creationId xmlns:a16="http://schemas.microsoft.com/office/drawing/2014/main" id="{00DF9681-7768-254C-B962-8FB51777D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47541" cy="6858000"/>
          </a:xfrm>
          <a:prstGeom prst="rect">
            <a:avLst/>
          </a:prstGeom>
        </p:spPr>
      </p:pic>
      <p:grpSp>
        <p:nvGrpSpPr>
          <p:cNvPr id="18" name="Logo">
            <a:extLst>
              <a:ext uri="{FF2B5EF4-FFF2-40B4-BE49-F238E27FC236}">
                <a16:creationId xmlns:a16="http://schemas.microsoft.com/office/drawing/2014/main" id="{0FFDE514-3234-6949-A402-C5D8FFCD80B9}"/>
              </a:ext>
            </a:extLst>
          </p:cNvPr>
          <p:cNvGrpSpPr/>
          <p:nvPr userDrawn="1"/>
        </p:nvGrpSpPr>
        <p:grpSpPr>
          <a:xfrm>
            <a:off x="11063288" y="6099628"/>
            <a:ext cx="1128712" cy="889000"/>
            <a:chOff x="11063288" y="6099628"/>
            <a:chExt cx="1128712" cy="889000"/>
          </a:xfrm>
        </p:grpSpPr>
        <p:sp>
          <p:nvSpPr>
            <p:cNvPr id="19" name="AutoShape 13" descr="Forme libre 29">
              <a:extLst>
                <a:ext uri="{FF2B5EF4-FFF2-40B4-BE49-F238E27FC236}">
                  <a16:creationId xmlns:a16="http://schemas.microsoft.com/office/drawing/2014/main" id="{24706C56-A1C0-DF43-987A-CDCC0E6D3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6099628"/>
              <a:ext cx="1128712" cy="889000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3829" y="0"/>
                  </a:moveTo>
                  <a:cubicBezTo>
                    <a:pt x="16693" y="0"/>
                    <a:pt x="19353" y="1106"/>
                    <a:pt x="21560" y="3001"/>
                  </a:cubicBezTo>
                  <a:lnTo>
                    <a:pt x="21600" y="3039"/>
                  </a:lnTo>
                  <a:lnTo>
                    <a:pt x="21600" y="21600"/>
                  </a:lnTo>
                  <a:lnTo>
                    <a:pt x="379" y="21600"/>
                  </a:lnTo>
                  <a:lnTo>
                    <a:pt x="281" y="21115"/>
                  </a:lnTo>
                  <a:cubicBezTo>
                    <a:pt x="97" y="19971"/>
                    <a:pt x="0" y="18787"/>
                    <a:pt x="0" y="17573"/>
                  </a:cubicBezTo>
                  <a:cubicBezTo>
                    <a:pt x="0" y="7868"/>
                    <a:pt x="6191" y="0"/>
                    <a:pt x="1382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204092" dist="29368" dir="13500000" algn="br" rotWithShape="0">
                <a:schemeClr val="accent5">
                  <a:lumMod val="50000"/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sp>
          <p:nvSpPr>
            <p:cNvPr id="20" name="AutoShape 14" descr="Forme libre 30">
              <a:extLst>
                <a:ext uri="{FF2B5EF4-FFF2-40B4-BE49-F238E27FC236}">
                  <a16:creationId xmlns:a16="http://schemas.microsoft.com/office/drawing/2014/main" id="{643A88A7-3AC0-7248-8A99-C5297CDB2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0736" y="6160750"/>
              <a:ext cx="1111263" cy="827878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4046" y="0"/>
                  </a:moveTo>
                  <a:cubicBezTo>
                    <a:pt x="16470" y="0"/>
                    <a:pt x="18751" y="825"/>
                    <a:pt x="20741" y="2278"/>
                  </a:cubicBezTo>
                  <a:lnTo>
                    <a:pt x="21600" y="2979"/>
                  </a:lnTo>
                  <a:lnTo>
                    <a:pt x="21600" y="21600"/>
                  </a:lnTo>
                  <a:lnTo>
                    <a:pt x="163" y="21600"/>
                  </a:lnTo>
                  <a:lnTo>
                    <a:pt x="73" y="20800"/>
                  </a:lnTo>
                  <a:cubicBezTo>
                    <a:pt x="25" y="20166"/>
                    <a:pt x="0" y="19522"/>
                    <a:pt x="0" y="18871"/>
                  </a:cubicBezTo>
                  <a:cubicBezTo>
                    <a:pt x="0" y="8449"/>
                    <a:pt x="6288" y="0"/>
                    <a:pt x="140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pic>
          <p:nvPicPr>
            <p:cNvPr id="21" name="Google Shape;65;p13">
              <a:extLst>
                <a:ext uri="{FF2B5EF4-FFF2-40B4-BE49-F238E27FC236}">
                  <a16:creationId xmlns:a16="http://schemas.microsoft.com/office/drawing/2014/main" id="{8BE399BB-C546-AC4B-AEDF-92D8A175A0F5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 r:link="rId4"/>
                </a:ext>
              </a:extLst>
            </a:blip>
            <a:srcRect/>
            <a:stretch>
              <a:fillRect/>
            </a:stretch>
          </p:blipFill>
          <p:spPr>
            <a:xfrm>
              <a:off x="11350414" y="6316622"/>
              <a:ext cx="722442" cy="5106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Forme libre : forme 12">
            <a:extLst>
              <a:ext uri="{FF2B5EF4-FFF2-40B4-BE49-F238E27FC236}">
                <a16:creationId xmlns:a16="http://schemas.microsoft.com/office/drawing/2014/main" id="{A925156F-F1E5-7A4F-A619-56FCD2CE08CC}"/>
              </a:ext>
            </a:extLst>
          </p:cNvPr>
          <p:cNvSpPr/>
          <p:nvPr userDrawn="1"/>
        </p:nvSpPr>
        <p:spPr>
          <a:xfrm>
            <a:off x="-1" y="6479979"/>
            <a:ext cx="473076" cy="378021"/>
          </a:xfrm>
          <a:custGeom>
            <a:avLst/>
            <a:gdLst>
              <a:gd name="connsiteX0" fmla="*/ 0 w 643218"/>
              <a:gd name="connsiteY0" fmla="*/ 0 h 513976"/>
              <a:gd name="connsiteX1" fmla="*/ 386230 w 643218"/>
              <a:gd name="connsiteY1" fmla="*/ 0 h 513976"/>
              <a:gd name="connsiteX2" fmla="*/ 643218 w 643218"/>
              <a:gd name="connsiteY2" fmla="*/ 256988 h 513976"/>
              <a:gd name="connsiteX3" fmla="*/ 386230 w 643218"/>
              <a:gd name="connsiteY3" fmla="*/ 513976 h 513976"/>
              <a:gd name="connsiteX4" fmla="*/ 0 w 643218"/>
              <a:gd name="connsiteY4" fmla="*/ 513976 h 51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218" h="513976">
                <a:moveTo>
                  <a:pt x="0" y="0"/>
                </a:moveTo>
                <a:lnTo>
                  <a:pt x="386230" y="0"/>
                </a:lnTo>
                <a:cubicBezTo>
                  <a:pt x="528161" y="0"/>
                  <a:pt x="643218" y="115057"/>
                  <a:pt x="643218" y="256988"/>
                </a:cubicBezTo>
                <a:cubicBezTo>
                  <a:pt x="643218" y="398919"/>
                  <a:pt x="528161" y="513976"/>
                  <a:pt x="386230" y="513976"/>
                </a:cubicBezTo>
                <a:lnTo>
                  <a:pt x="0" y="51397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351947-423C-B24A-B115-10D2BD69BA01}"/>
              </a:ext>
            </a:extLst>
          </p:cNvPr>
          <p:cNvSpPr/>
          <p:nvPr userDrawn="1"/>
        </p:nvSpPr>
        <p:spPr>
          <a:xfrm>
            <a:off x="2254102" y="6885384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10847138" cy="1609434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40000" y="2160000"/>
            <a:ext cx="5181600" cy="4351338"/>
          </a:xfrm>
          <a:ln>
            <a:noFill/>
          </a:ln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2160000"/>
            <a:ext cx="5181600" cy="4351338"/>
          </a:xfrm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547687" y="7656810"/>
            <a:ext cx="838200" cy="187027"/>
          </a:xfrm>
        </p:spPr>
        <p:txBody>
          <a:bodyPr/>
          <a:lstStyle/>
          <a:p>
            <a:fld id="{8198F7CA-F303-8347-879F-B1840B5E05B2}" type="datetime1">
              <a:rPr lang="fr-FR" smtClean="0"/>
              <a:t>20/01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500187" y="7656810"/>
            <a:ext cx="8420100" cy="18702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34504" y="6588000"/>
            <a:ext cx="838200" cy="187027"/>
          </a:xfrm>
        </p:spPr>
        <p:txBody>
          <a:bodyPr/>
          <a:lstStyle/>
          <a:p>
            <a:fld id="{C814DB2B-3EFD-4766-A6C9-C9A5E84D2897}" type="slidenum">
              <a:rPr lang="fr-FR" smtClean="0"/>
              <a:t>‹N°›</a:t>
            </a:fld>
            <a:endParaRPr lang="fr-FR"/>
          </a:p>
        </p:txBody>
      </p:sp>
      <p:sp>
        <p:nvSpPr>
          <p:cNvPr id="23" name="Espace réservé du texte 28">
            <a:extLst>
              <a:ext uri="{FF2B5EF4-FFF2-40B4-BE49-F238E27FC236}">
                <a16:creationId xmlns:a16="http://schemas.microsoft.com/office/drawing/2014/main" id="{A4BC9205-4C34-DA4B-BFFE-1AADB0EA0A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180000"/>
            <a:ext cx="1858643" cy="331304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80000" tIns="0" rIns="180000" anchor="ctr" anchorCtr="0">
            <a:normAutofit/>
          </a:bodyPr>
          <a:lstStyle>
            <a:lvl1pPr marL="0" indent="0" algn="l">
              <a:buFontTx/>
              <a:buNone/>
              <a:defRPr sz="1000" b="0" i="0" cap="all" spc="200" normalizeH="0" baseline="0">
                <a:solidFill>
                  <a:schemeClr val="bg1"/>
                </a:solidFill>
                <a:latin typeface="Pole Emploi PRO Light" panose="02000303040000020004" pitchFamily="2" charset="77"/>
              </a:defRPr>
            </a:lvl1pPr>
            <a:lvl2pPr marL="1778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7" indent="0">
              <a:buFontTx/>
              <a:buNone/>
              <a:defRPr>
                <a:solidFill>
                  <a:schemeClr val="bg1"/>
                </a:solidFill>
              </a:defRPr>
            </a:lvl3pPr>
            <a:lvl4pPr marL="536575" indent="0">
              <a:buFontTx/>
              <a:buNone/>
              <a:defRPr>
                <a:solidFill>
                  <a:schemeClr val="bg1"/>
                </a:solidFill>
              </a:defRPr>
            </a:lvl4pPr>
            <a:lvl5pPr marL="71437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8772554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photo, sombre, lumière, grand&#10;&#10;Description générée automatiquement">
            <a:extLst>
              <a:ext uri="{FF2B5EF4-FFF2-40B4-BE49-F238E27FC236}">
                <a16:creationId xmlns:a16="http://schemas.microsoft.com/office/drawing/2014/main" id="{44B2DDB3-1A6A-B943-AE5A-2515B32F86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47541" cy="6858000"/>
          </a:xfrm>
          <a:prstGeom prst="rect">
            <a:avLst/>
          </a:prstGeom>
        </p:spPr>
      </p:pic>
      <p:grpSp>
        <p:nvGrpSpPr>
          <p:cNvPr id="14" name="Logo">
            <a:extLst>
              <a:ext uri="{FF2B5EF4-FFF2-40B4-BE49-F238E27FC236}">
                <a16:creationId xmlns:a16="http://schemas.microsoft.com/office/drawing/2014/main" id="{1C92B5B2-6A21-DC49-B357-96EC899BEFD9}"/>
              </a:ext>
            </a:extLst>
          </p:cNvPr>
          <p:cNvGrpSpPr/>
          <p:nvPr userDrawn="1"/>
        </p:nvGrpSpPr>
        <p:grpSpPr>
          <a:xfrm>
            <a:off x="11063288" y="6099628"/>
            <a:ext cx="1128712" cy="889000"/>
            <a:chOff x="11063288" y="6099628"/>
            <a:chExt cx="1128712" cy="889000"/>
          </a:xfrm>
        </p:grpSpPr>
        <p:sp>
          <p:nvSpPr>
            <p:cNvPr id="18" name="AutoShape 13" descr="Forme libre 29">
              <a:extLst>
                <a:ext uri="{FF2B5EF4-FFF2-40B4-BE49-F238E27FC236}">
                  <a16:creationId xmlns:a16="http://schemas.microsoft.com/office/drawing/2014/main" id="{5BA05636-4827-2940-B30C-997790CDA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6099628"/>
              <a:ext cx="1128712" cy="889000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3829" y="0"/>
                  </a:moveTo>
                  <a:cubicBezTo>
                    <a:pt x="16693" y="0"/>
                    <a:pt x="19353" y="1106"/>
                    <a:pt x="21560" y="3001"/>
                  </a:cubicBezTo>
                  <a:lnTo>
                    <a:pt x="21600" y="3039"/>
                  </a:lnTo>
                  <a:lnTo>
                    <a:pt x="21600" y="21600"/>
                  </a:lnTo>
                  <a:lnTo>
                    <a:pt x="379" y="21600"/>
                  </a:lnTo>
                  <a:lnTo>
                    <a:pt x="281" y="21115"/>
                  </a:lnTo>
                  <a:cubicBezTo>
                    <a:pt x="97" y="19971"/>
                    <a:pt x="0" y="18787"/>
                    <a:pt x="0" y="17573"/>
                  </a:cubicBezTo>
                  <a:cubicBezTo>
                    <a:pt x="0" y="7868"/>
                    <a:pt x="6191" y="0"/>
                    <a:pt x="1382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204092" dist="29368" dir="13500000" algn="br" rotWithShape="0">
                <a:schemeClr val="accent5">
                  <a:lumMod val="50000"/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sp>
          <p:nvSpPr>
            <p:cNvPr id="19" name="AutoShape 14" descr="Forme libre 30">
              <a:extLst>
                <a:ext uri="{FF2B5EF4-FFF2-40B4-BE49-F238E27FC236}">
                  <a16:creationId xmlns:a16="http://schemas.microsoft.com/office/drawing/2014/main" id="{185C99B8-CEAA-C846-8DC9-4233A0F070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0736" y="6160750"/>
              <a:ext cx="1111263" cy="827878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4046" y="0"/>
                  </a:moveTo>
                  <a:cubicBezTo>
                    <a:pt x="16470" y="0"/>
                    <a:pt x="18751" y="825"/>
                    <a:pt x="20741" y="2278"/>
                  </a:cubicBezTo>
                  <a:lnTo>
                    <a:pt x="21600" y="2979"/>
                  </a:lnTo>
                  <a:lnTo>
                    <a:pt x="21600" y="21600"/>
                  </a:lnTo>
                  <a:lnTo>
                    <a:pt x="163" y="21600"/>
                  </a:lnTo>
                  <a:lnTo>
                    <a:pt x="73" y="20800"/>
                  </a:lnTo>
                  <a:cubicBezTo>
                    <a:pt x="25" y="20166"/>
                    <a:pt x="0" y="19522"/>
                    <a:pt x="0" y="18871"/>
                  </a:cubicBezTo>
                  <a:cubicBezTo>
                    <a:pt x="0" y="8449"/>
                    <a:pt x="6288" y="0"/>
                    <a:pt x="140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</p:grpSp>
      <p:sp>
        <p:nvSpPr>
          <p:cNvPr id="7" name="Forme libre : forme 12">
            <a:extLst>
              <a:ext uri="{FF2B5EF4-FFF2-40B4-BE49-F238E27FC236}">
                <a16:creationId xmlns:a16="http://schemas.microsoft.com/office/drawing/2014/main" id="{42A42BAA-1A26-AF40-BA63-943E0E510297}"/>
              </a:ext>
            </a:extLst>
          </p:cNvPr>
          <p:cNvSpPr/>
          <p:nvPr userDrawn="1"/>
        </p:nvSpPr>
        <p:spPr>
          <a:xfrm>
            <a:off x="-1" y="6479979"/>
            <a:ext cx="473076" cy="378021"/>
          </a:xfrm>
          <a:custGeom>
            <a:avLst/>
            <a:gdLst>
              <a:gd name="connsiteX0" fmla="*/ 0 w 643218"/>
              <a:gd name="connsiteY0" fmla="*/ 0 h 513976"/>
              <a:gd name="connsiteX1" fmla="*/ 386230 w 643218"/>
              <a:gd name="connsiteY1" fmla="*/ 0 h 513976"/>
              <a:gd name="connsiteX2" fmla="*/ 643218 w 643218"/>
              <a:gd name="connsiteY2" fmla="*/ 256988 h 513976"/>
              <a:gd name="connsiteX3" fmla="*/ 386230 w 643218"/>
              <a:gd name="connsiteY3" fmla="*/ 513976 h 513976"/>
              <a:gd name="connsiteX4" fmla="*/ 0 w 643218"/>
              <a:gd name="connsiteY4" fmla="*/ 513976 h 51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218" h="513976">
                <a:moveTo>
                  <a:pt x="0" y="0"/>
                </a:moveTo>
                <a:lnTo>
                  <a:pt x="386230" y="0"/>
                </a:lnTo>
                <a:cubicBezTo>
                  <a:pt x="528161" y="0"/>
                  <a:pt x="643218" y="115057"/>
                  <a:pt x="643218" y="256988"/>
                </a:cubicBezTo>
                <a:cubicBezTo>
                  <a:pt x="643218" y="398919"/>
                  <a:pt x="528161" y="513976"/>
                  <a:pt x="386230" y="513976"/>
                </a:cubicBezTo>
                <a:lnTo>
                  <a:pt x="0" y="51397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-291639" y="7626676"/>
            <a:ext cx="838200" cy="187027"/>
          </a:xfrm>
        </p:spPr>
        <p:txBody>
          <a:bodyPr/>
          <a:lstStyle/>
          <a:p>
            <a:fld id="{DC60C55F-20F9-45E5-BAD9-D279CBCC7FF3}" type="datetime1">
              <a:rPr lang="fr-FR" smtClean="0"/>
              <a:t>20/01/202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660861" y="7626676"/>
            <a:ext cx="8420100" cy="187027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34504" y="6588000"/>
            <a:ext cx="838200" cy="187027"/>
          </a:xfrm>
        </p:spPr>
        <p:txBody>
          <a:bodyPr/>
          <a:lstStyle/>
          <a:p>
            <a:fld id="{C814DB2B-3EFD-4766-A6C9-C9A5E84D2897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F624CB7-E18F-164D-832D-825D782EDFF4}"/>
              </a:ext>
            </a:extLst>
          </p:cNvPr>
          <p:cNvSpPr/>
          <p:nvPr userDrawn="1"/>
        </p:nvSpPr>
        <p:spPr>
          <a:xfrm>
            <a:off x="2254102" y="-2573079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7ADFC11-F0C8-5D4F-9301-1ED0FBA90D72}"/>
              </a:ext>
            </a:extLst>
          </p:cNvPr>
          <p:cNvSpPr/>
          <p:nvPr userDrawn="1"/>
        </p:nvSpPr>
        <p:spPr>
          <a:xfrm>
            <a:off x="2254102" y="6885384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532303-DCB9-9C44-9F97-D141277811CC}"/>
              </a:ext>
            </a:extLst>
          </p:cNvPr>
          <p:cNvSpPr/>
          <p:nvPr userDrawn="1"/>
        </p:nvSpPr>
        <p:spPr>
          <a:xfrm>
            <a:off x="12192000" y="-659219"/>
            <a:ext cx="3969488" cy="10271052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Google Shape;65;p13">
            <a:extLst>
              <a:ext uri="{FF2B5EF4-FFF2-40B4-BE49-F238E27FC236}">
                <a16:creationId xmlns:a16="http://schemas.microsoft.com/office/drawing/2014/main" id="{08953D88-DBA2-A847-93EF-D9C1FA7A8CE8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1366" y="6358687"/>
            <a:ext cx="841574" cy="4398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3332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onnes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12">
            <a:extLst>
              <a:ext uri="{FF2B5EF4-FFF2-40B4-BE49-F238E27FC236}">
                <a16:creationId xmlns:a16="http://schemas.microsoft.com/office/drawing/2014/main" id="{A925156F-F1E5-7A4F-A619-56FCD2CE08CC}"/>
              </a:ext>
            </a:extLst>
          </p:cNvPr>
          <p:cNvSpPr/>
          <p:nvPr userDrawn="1"/>
        </p:nvSpPr>
        <p:spPr>
          <a:xfrm>
            <a:off x="-1" y="6479979"/>
            <a:ext cx="473076" cy="378021"/>
          </a:xfrm>
          <a:custGeom>
            <a:avLst/>
            <a:gdLst>
              <a:gd name="connsiteX0" fmla="*/ 0 w 643218"/>
              <a:gd name="connsiteY0" fmla="*/ 0 h 513976"/>
              <a:gd name="connsiteX1" fmla="*/ 386230 w 643218"/>
              <a:gd name="connsiteY1" fmla="*/ 0 h 513976"/>
              <a:gd name="connsiteX2" fmla="*/ 643218 w 643218"/>
              <a:gd name="connsiteY2" fmla="*/ 256988 h 513976"/>
              <a:gd name="connsiteX3" fmla="*/ 386230 w 643218"/>
              <a:gd name="connsiteY3" fmla="*/ 513976 h 513976"/>
              <a:gd name="connsiteX4" fmla="*/ 0 w 643218"/>
              <a:gd name="connsiteY4" fmla="*/ 513976 h 51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218" h="513976">
                <a:moveTo>
                  <a:pt x="0" y="0"/>
                </a:moveTo>
                <a:lnTo>
                  <a:pt x="386230" y="0"/>
                </a:lnTo>
                <a:cubicBezTo>
                  <a:pt x="528161" y="0"/>
                  <a:pt x="643218" y="115057"/>
                  <a:pt x="643218" y="256988"/>
                </a:cubicBezTo>
                <a:cubicBezTo>
                  <a:pt x="643218" y="398919"/>
                  <a:pt x="528161" y="513976"/>
                  <a:pt x="386230" y="513976"/>
                </a:cubicBezTo>
                <a:lnTo>
                  <a:pt x="0" y="51397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8E5EC97E-430A-C843-9894-D8D98DAA17D8}"/>
              </a:ext>
            </a:extLst>
          </p:cNvPr>
          <p:cNvGrpSpPr/>
          <p:nvPr userDrawn="1"/>
        </p:nvGrpSpPr>
        <p:grpSpPr>
          <a:xfrm>
            <a:off x="11063288" y="6099628"/>
            <a:ext cx="1128712" cy="889000"/>
            <a:chOff x="11063288" y="6099628"/>
            <a:chExt cx="1128712" cy="889000"/>
          </a:xfrm>
        </p:grpSpPr>
        <p:sp>
          <p:nvSpPr>
            <p:cNvPr id="11" name="AutoShape 13" descr="Forme libre 29">
              <a:extLst>
                <a:ext uri="{FF2B5EF4-FFF2-40B4-BE49-F238E27FC236}">
                  <a16:creationId xmlns:a16="http://schemas.microsoft.com/office/drawing/2014/main" id="{0BA81608-B1A9-574D-89C0-F989537BA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6099628"/>
              <a:ext cx="1128712" cy="889000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3829" y="0"/>
                  </a:moveTo>
                  <a:cubicBezTo>
                    <a:pt x="16693" y="0"/>
                    <a:pt x="19353" y="1106"/>
                    <a:pt x="21560" y="3001"/>
                  </a:cubicBezTo>
                  <a:lnTo>
                    <a:pt x="21600" y="3039"/>
                  </a:lnTo>
                  <a:lnTo>
                    <a:pt x="21600" y="21600"/>
                  </a:lnTo>
                  <a:lnTo>
                    <a:pt x="379" y="21600"/>
                  </a:lnTo>
                  <a:lnTo>
                    <a:pt x="281" y="21115"/>
                  </a:lnTo>
                  <a:cubicBezTo>
                    <a:pt x="97" y="19971"/>
                    <a:pt x="0" y="18787"/>
                    <a:pt x="0" y="17573"/>
                  </a:cubicBezTo>
                  <a:cubicBezTo>
                    <a:pt x="0" y="7868"/>
                    <a:pt x="6191" y="0"/>
                    <a:pt x="13829" y="0"/>
                  </a:cubicBezTo>
                  <a:close/>
                </a:path>
              </a:pathLst>
            </a:custGeom>
            <a:solidFill>
              <a:srgbClr val="E31927"/>
            </a:solidFill>
            <a:ln>
              <a:noFill/>
            </a:ln>
            <a:effectLst>
              <a:outerShdw blurRad="204092" dist="29368" dir="13500000" algn="br" rotWithShape="0">
                <a:schemeClr val="tx2">
                  <a:lumMod val="75000"/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sp>
          <p:nvSpPr>
            <p:cNvPr id="12" name="AutoShape 14" descr="Forme libre 30">
              <a:extLst>
                <a:ext uri="{FF2B5EF4-FFF2-40B4-BE49-F238E27FC236}">
                  <a16:creationId xmlns:a16="http://schemas.microsoft.com/office/drawing/2014/main" id="{8C16A347-1E84-B440-A0A4-EA8CDAFF6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0736" y="6160750"/>
              <a:ext cx="1111263" cy="827878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4046" y="0"/>
                  </a:moveTo>
                  <a:cubicBezTo>
                    <a:pt x="16470" y="0"/>
                    <a:pt x="18751" y="825"/>
                    <a:pt x="20741" y="2278"/>
                  </a:cubicBezTo>
                  <a:lnTo>
                    <a:pt x="21600" y="2979"/>
                  </a:lnTo>
                  <a:lnTo>
                    <a:pt x="21600" y="21600"/>
                  </a:lnTo>
                  <a:lnTo>
                    <a:pt x="163" y="21600"/>
                  </a:lnTo>
                  <a:lnTo>
                    <a:pt x="73" y="20800"/>
                  </a:lnTo>
                  <a:cubicBezTo>
                    <a:pt x="25" y="20166"/>
                    <a:pt x="0" y="19522"/>
                    <a:pt x="0" y="18871"/>
                  </a:cubicBezTo>
                  <a:cubicBezTo>
                    <a:pt x="0" y="8449"/>
                    <a:pt x="6288" y="0"/>
                    <a:pt x="140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97351947-423C-B24A-B115-10D2BD69BA01}"/>
              </a:ext>
            </a:extLst>
          </p:cNvPr>
          <p:cNvSpPr/>
          <p:nvPr userDrawn="1"/>
        </p:nvSpPr>
        <p:spPr>
          <a:xfrm>
            <a:off x="2254102" y="6885384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10847138" cy="1325563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40000" y="2160000"/>
            <a:ext cx="5181600" cy="4351338"/>
          </a:xfrm>
          <a:ln>
            <a:noFill/>
          </a:ln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2160000"/>
            <a:ext cx="5181600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547687" y="7656810"/>
            <a:ext cx="838200" cy="187027"/>
          </a:xfrm>
        </p:spPr>
        <p:txBody>
          <a:bodyPr/>
          <a:lstStyle/>
          <a:p>
            <a:fld id="{8198F7CA-F303-8347-879F-B1840B5E05B2}" type="datetime1">
              <a:rPr lang="fr-FR" smtClean="0"/>
              <a:t>20/01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500187" y="7656810"/>
            <a:ext cx="8420100" cy="18702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34504" y="6588000"/>
            <a:ext cx="838200" cy="187027"/>
          </a:xfrm>
        </p:spPr>
        <p:txBody>
          <a:bodyPr/>
          <a:lstStyle/>
          <a:p>
            <a:fld id="{C814DB2B-3EFD-4766-A6C9-C9A5E84D2897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28">
            <a:extLst>
              <a:ext uri="{FF2B5EF4-FFF2-40B4-BE49-F238E27FC236}">
                <a16:creationId xmlns:a16="http://schemas.microsoft.com/office/drawing/2014/main" id="{2DF67E5F-EBCB-D347-A981-54B8A0F10D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80000"/>
            <a:ext cx="1858643" cy="331304"/>
          </a:xfrm>
          <a:solidFill>
            <a:schemeClr val="accent2">
              <a:lumMod val="60000"/>
              <a:lumOff val="40000"/>
            </a:schemeClr>
          </a:solidFill>
        </p:spPr>
        <p:txBody>
          <a:bodyPr lIns="180000" tIns="0" rIns="180000" anchor="ctr" anchorCtr="0">
            <a:normAutofit/>
          </a:bodyPr>
          <a:lstStyle>
            <a:lvl1pPr marL="0" indent="0" algn="l">
              <a:buFontTx/>
              <a:buNone/>
              <a:defRPr sz="1000" b="0" i="0" cap="all" spc="200" normalizeH="0" baseline="0">
                <a:solidFill>
                  <a:schemeClr val="bg1"/>
                </a:solidFill>
                <a:latin typeface="Pole Emploi PRO Light" panose="02000303040000020004" pitchFamily="2" charset="77"/>
              </a:defRPr>
            </a:lvl1pPr>
            <a:lvl2pPr marL="1778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7" indent="0">
              <a:buFontTx/>
              <a:buNone/>
              <a:defRPr>
                <a:solidFill>
                  <a:schemeClr val="bg1"/>
                </a:solidFill>
              </a:defRPr>
            </a:lvl3pPr>
            <a:lvl4pPr marL="536575" indent="0">
              <a:buFontTx/>
              <a:buNone/>
              <a:defRPr>
                <a:solidFill>
                  <a:schemeClr val="bg1"/>
                </a:solidFill>
              </a:defRPr>
            </a:lvl4pPr>
            <a:lvl5pPr marL="71437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chapitre</a:t>
            </a:r>
          </a:p>
        </p:txBody>
      </p:sp>
      <p:pic>
        <p:nvPicPr>
          <p:cNvPr id="17" name="Google Shape;65;p13">
            <a:extLst>
              <a:ext uri="{FF2B5EF4-FFF2-40B4-BE49-F238E27FC236}">
                <a16:creationId xmlns:a16="http://schemas.microsoft.com/office/drawing/2014/main" id="{08953D88-DBA2-A847-93EF-D9C1FA7A8CE8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0456" y="6389378"/>
            <a:ext cx="841574" cy="4398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56555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07C460-F6CF-B157-9B35-9183C2F50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07C460-F6CF-B157-9B35-9183C2F50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10">
            <a:extLst>
              <a:ext uri="{FF2B5EF4-FFF2-40B4-BE49-F238E27FC236}">
                <a16:creationId xmlns:a16="http://schemas.microsoft.com/office/drawing/2014/main" id="{CB5343B9-4000-0D59-D0B9-3C600DB7EA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1055" y="388976"/>
            <a:ext cx="9020946" cy="6469024"/>
          </a:xfrm>
          <a:custGeom>
            <a:avLst/>
            <a:gdLst>
              <a:gd name="connsiteX0" fmla="*/ 4945505 w 9020946"/>
              <a:gd name="connsiteY0" fmla="*/ 0 h 6469024"/>
              <a:gd name="connsiteX1" fmla="*/ 5771187 w 9020946"/>
              <a:gd name="connsiteY1" fmla="*/ 161155 h 6469024"/>
              <a:gd name="connsiteX2" fmla="*/ 8936706 w 9020946"/>
              <a:gd name="connsiteY2" fmla="*/ 1984322 h 6469024"/>
              <a:gd name="connsiteX3" fmla="*/ 9020946 w 9020946"/>
              <a:gd name="connsiteY3" fmla="*/ 2056378 h 6469024"/>
              <a:gd name="connsiteX4" fmla="*/ 9020946 w 9020946"/>
              <a:gd name="connsiteY4" fmla="*/ 6469024 h 6469024"/>
              <a:gd name="connsiteX5" fmla="*/ 56808 w 9020946"/>
              <a:gd name="connsiteY5" fmla="*/ 6469024 h 6469024"/>
              <a:gd name="connsiteX6" fmla="*/ 31222 w 9020946"/>
              <a:gd name="connsiteY6" fmla="*/ 6170845 h 6469024"/>
              <a:gd name="connsiteX7" fmla="*/ 1 w 9020946"/>
              <a:gd name="connsiteY7" fmla="*/ 5252589 h 6469024"/>
              <a:gd name="connsiteX8" fmla="*/ 126073 w 9020946"/>
              <a:gd name="connsiteY8" fmla="*/ 3415976 h 6469024"/>
              <a:gd name="connsiteX9" fmla="*/ 954371 w 9020946"/>
              <a:gd name="connsiteY9" fmla="*/ 1984322 h 6469024"/>
              <a:gd name="connsiteX10" fmla="*/ 4119822 w 9020946"/>
              <a:gd name="connsiteY10" fmla="*/ 161155 h 6469024"/>
              <a:gd name="connsiteX11" fmla="*/ 4945505 w 9020946"/>
              <a:gd name="connsiteY11" fmla="*/ 0 h 64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20946" h="6469024">
                <a:moveTo>
                  <a:pt x="4945505" y="0"/>
                </a:moveTo>
                <a:cubicBezTo>
                  <a:pt x="5226075" y="0"/>
                  <a:pt x="5506646" y="53719"/>
                  <a:pt x="5771187" y="161155"/>
                </a:cubicBezTo>
                <a:cubicBezTo>
                  <a:pt x="6912831" y="624859"/>
                  <a:pt x="7976495" y="1241364"/>
                  <a:pt x="8936706" y="1984322"/>
                </a:cubicBezTo>
                <a:lnTo>
                  <a:pt x="9020946" y="2056378"/>
                </a:lnTo>
                <a:lnTo>
                  <a:pt x="9020946" y="6469024"/>
                </a:lnTo>
                <a:lnTo>
                  <a:pt x="56808" y="6469024"/>
                </a:lnTo>
                <a:lnTo>
                  <a:pt x="31222" y="6170845"/>
                </a:lnTo>
                <a:cubicBezTo>
                  <a:pt x="10258" y="5864562"/>
                  <a:pt x="-101" y="5558295"/>
                  <a:pt x="1" y="5252589"/>
                </a:cubicBezTo>
                <a:cubicBezTo>
                  <a:pt x="-203" y="4641109"/>
                  <a:pt x="41436" y="4027524"/>
                  <a:pt x="126073" y="3415976"/>
                </a:cubicBezTo>
                <a:cubicBezTo>
                  <a:pt x="204460" y="2849318"/>
                  <a:pt x="501911" y="2334409"/>
                  <a:pt x="954371" y="1984322"/>
                </a:cubicBezTo>
                <a:cubicBezTo>
                  <a:pt x="1914514" y="1241296"/>
                  <a:pt x="2978246" y="624859"/>
                  <a:pt x="4119822" y="161155"/>
                </a:cubicBezTo>
                <a:cubicBezTo>
                  <a:pt x="4384363" y="53719"/>
                  <a:pt x="4664934" y="0"/>
                  <a:pt x="494550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35556AE-0792-4A86-267C-E3B3100CD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96406" y="3172618"/>
            <a:ext cx="728664" cy="728664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84D5D1-C99C-5B24-C5D3-F357B9BD107F}"/>
              </a:ext>
            </a:extLst>
          </p:cNvPr>
          <p:cNvGrpSpPr/>
          <p:nvPr userDrawn="1"/>
        </p:nvGrpSpPr>
        <p:grpSpPr>
          <a:xfrm>
            <a:off x="574676" y="574676"/>
            <a:ext cx="2832100" cy="836100"/>
            <a:chOff x="574675" y="574675"/>
            <a:chExt cx="2957513" cy="873125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B90F13-BFED-F42E-3160-DAEFE8AA9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4675" y="574675"/>
              <a:ext cx="993800" cy="873125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675DEB7F-BF68-12E8-DF53-84EEBC7FB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771624" y="574675"/>
              <a:ext cx="1760564" cy="873125"/>
            </a:xfrm>
            <a:prstGeom prst="rect">
              <a:avLst/>
            </a:prstGeom>
          </p:spPr>
        </p:pic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0058CDAE-DA68-3DB6-CDA5-02E4FEC40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5302" y="3040381"/>
            <a:ext cx="7335836" cy="1907346"/>
          </a:xfrm>
        </p:spPr>
        <p:txBody>
          <a:bodyPr vert="horz" anchor="t"/>
          <a:lstStyle>
            <a:lvl1pPr>
              <a:defRPr lang="en-GB" sz="6600" kern="1200" spc="-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60A38F1-BA27-DF99-2E3E-4EE003EA0E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5301" y="5086350"/>
            <a:ext cx="5448300" cy="1196975"/>
          </a:xfrm>
        </p:spPr>
        <p:txBody>
          <a:bodyPr/>
          <a:lstStyle>
            <a:lvl1pPr>
              <a:defRPr lang="en-US" sz="2000" b="1" kern="1200" cap="all" spc="-2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b="1" kern="1200" cap="all" spc="-2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b="1" kern="1200" cap="all" spc="-2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b="1" kern="1200" cap="all" spc="-2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2000" b="1" kern="1200" cap="all" spc="-20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This is a 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28713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699CE3-CD10-6F82-95EA-E7F76B0F4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40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99CE3-CD10-6F82-95EA-E7F76B0F4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8E668-3EA9-2ABD-8441-36F2D4ACAF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0272" y="1501775"/>
            <a:ext cx="4494528" cy="747897"/>
          </a:xfrm>
        </p:spPr>
        <p:txBody>
          <a:bodyPr vert="horz"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fr-FR"/>
              <a:t>Sommaire</a:t>
            </a:r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73B73FCA-B8D0-1803-3321-47FB1580E5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0271" y="2709144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C24E9320-DC19-61E8-605A-32F867F256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47800" y="2763923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FA21F19-0699-916D-76B5-D8D5CFE75E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66419" y="2763923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61D3AB77-4E69-3B26-1904-E9C3C29A8EF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0271" y="3259213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2</a:t>
            </a:r>
            <a:endParaRPr lang="fr-FR" dirty="0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075C46A-5FF1-6971-B941-4DCAF33C3F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47800" y="3313992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DC69141-017F-54CB-6745-EF0FA65207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66419" y="3313992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B7314D0-B424-CD63-4B8A-B0A353CE2B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0271" y="3809282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3</a:t>
            </a:r>
            <a:endParaRPr lang="fr-FR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4427665-7EA5-1931-C168-6F9EADD64C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47800" y="3864061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000BC19-DB50-E677-7355-D7CD4C78356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6419" y="3864061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7E3DB5D-9972-95BF-8E26-B41F2DD80B1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0271" y="4359351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4</a:t>
            </a:r>
            <a:endParaRPr lang="fr-FR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20FE6B7-05BF-A511-A0CC-06B5A4776B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7800" y="4414130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EB2FB84-7627-2484-7150-6E9A9BA9143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66419" y="4414130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96DDA1FC-B4C7-ACA8-6757-196599F8FE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0271" y="4909419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5</a:t>
            </a:r>
            <a:endParaRPr lang="fr-FR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F9843044-F090-699F-98AE-9CDDABBFF6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47800" y="4964198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D052443-8F73-B181-4555-CADF915EF9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66419" y="4964198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BB62A75-BE87-4F6F-2FC2-1811BCF0B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C3DD55C-F985-B54F-6A0C-19E5EBC79752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C83CD80-F80A-E1D2-E92B-F7F872D4114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865983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E311B81-2EFE-2000-6EA1-82D1196E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88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11B81-2EFE-2000-6EA1-82D1196E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D3A77740-3A3D-F791-854D-0F4814163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83911" y="531196"/>
            <a:ext cx="738804" cy="738804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9C643844-DA3F-41F5-7AB6-D88131492F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2294" y="589580"/>
            <a:ext cx="622038" cy="622036"/>
          </a:xfrm>
          <a:prstGeom prst="ellipse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4017B8-F748-6085-9C91-50486A2CA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911" y="1511011"/>
            <a:ext cx="5402552" cy="4365625"/>
          </a:xfrm>
        </p:spPr>
        <p:txBody>
          <a:bodyPr vert="horz" anchor="t"/>
          <a:lstStyle>
            <a:lvl1pPr>
              <a:defRPr sz="3600"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fr-FR"/>
              <a:t>Lorem ipsum dolor sit amet, consectetuer adipiscing elit. Maecenas porttitor congue massa. Fusce posuere, magna sed pulvinar ultricies</a:t>
            </a:r>
            <a:endParaRPr lang="fr-FR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E95B0267-835E-C716-5BD8-2F5CF3E18F7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990020" y="3"/>
            <a:ext cx="5201978" cy="5281610"/>
          </a:xfrm>
          <a:custGeom>
            <a:avLst/>
            <a:gdLst>
              <a:gd name="connsiteX0" fmla="*/ 1100062 w 5689601"/>
              <a:gd name="connsiteY0" fmla="*/ 0 h 5776697"/>
              <a:gd name="connsiteX1" fmla="*/ 5689601 w 5689601"/>
              <a:gd name="connsiteY1" fmla="*/ 0 h 5776697"/>
              <a:gd name="connsiteX2" fmla="*/ 5689601 w 5689601"/>
              <a:gd name="connsiteY2" fmla="*/ 5302880 h 5776697"/>
              <a:gd name="connsiteX3" fmla="*/ 5657913 w 5689601"/>
              <a:gd name="connsiteY3" fmla="*/ 5333342 h 5776697"/>
              <a:gd name="connsiteX4" fmla="*/ 4874183 w 5689601"/>
              <a:gd name="connsiteY4" fmla="*/ 5690117 h 5776697"/>
              <a:gd name="connsiteX5" fmla="*/ 3926902 w 5689601"/>
              <a:gd name="connsiteY5" fmla="*/ 5771331 h 5776697"/>
              <a:gd name="connsiteX6" fmla="*/ 3611417 w 5689601"/>
              <a:gd name="connsiteY6" fmla="*/ 5776697 h 5776697"/>
              <a:gd name="connsiteX7" fmla="*/ 3611356 w 5689601"/>
              <a:gd name="connsiteY7" fmla="*/ 5776697 h 5776697"/>
              <a:gd name="connsiteX8" fmla="*/ 3295871 w 5689601"/>
              <a:gd name="connsiteY8" fmla="*/ 5771419 h 5776697"/>
              <a:gd name="connsiteX9" fmla="*/ 2348589 w 5689601"/>
              <a:gd name="connsiteY9" fmla="*/ 5690117 h 5776697"/>
              <a:gd name="connsiteX10" fmla="*/ 1364359 w 5689601"/>
              <a:gd name="connsiteY10" fmla="*/ 5120748 h 5776697"/>
              <a:gd name="connsiteX11" fmla="*/ 110815 w 5689601"/>
              <a:gd name="connsiteY11" fmla="*/ 2944756 h 5776697"/>
              <a:gd name="connsiteX12" fmla="*/ 110815 w 5689601"/>
              <a:gd name="connsiteY12" fmla="*/ 1809627 h 5776697"/>
              <a:gd name="connsiteX13" fmla="*/ 997815 w 5689601"/>
              <a:gd name="connsiteY13" fmla="*/ 141732 h 5776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9601" h="5776697">
                <a:moveTo>
                  <a:pt x="1100062" y="0"/>
                </a:moveTo>
                <a:lnTo>
                  <a:pt x="5689601" y="0"/>
                </a:lnTo>
                <a:lnTo>
                  <a:pt x="5689601" y="5302880"/>
                </a:lnTo>
                <a:lnTo>
                  <a:pt x="5657913" y="5333342"/>
                </a:lnTo>
                <a:cubicBezTo>
                  <a:pt x="5438577" y="5524570"/>
                  <a:pt x="5166395" y="5649649"/>
                  <a:pt x="4874183" y="5690117"/>
                </a:cubicBezTo>
                <a:cubicBezTo>
                  <a:pt x="4558797" y="5733642"/>
                  <a:pt x="4242618" y="5760581"/>
                  <a:pt x="3926902" y="5771331"/>
                </a:cubicBezTo>
                <a:lnTo>
                  <a:pt x="3611417" y="5776697"/>
                </a:lnTo>
                <a:lnTo>
                  <a:pt x="3611356" y="5776697"/>
                </a:lnTo>
                <a:lnTo>
                  <a:pt x="3295871" y="5771419"/>
                </a:lnTo>
                <a:cubicBezTo>
                  <a:pt x="2980154" y="5760728"/>
                  <a:pt x="2663975" y="5733760"/>
                  <a:pt x="2348589" y="5690117"/>
                </a:cubicBezTo>
                <a:cubicBezTo>
                  <a:pt x="1959131" y="5636160"/>
                  <a:pt x="1605123" y="5431783"/>
                  <a:pt x="1364359" y="5120748"/>
                </a:cubicBezTo>
                <a:cubicBezTo>
                  <a:pt x="853499" y="4460720"/>
                  <a:pt x="429691" y="3729481"/>
                  <a:pt x="110815" y="2944756"/>
                </a:cubicBezTo>
                <a:cubicBezTo>
                  <a:pt x="-36938" y="2581019"/>
                  <a:pt x="-36938" y="2173364"/>
                  <a:pt x="110815" y="1809627"/>
                </a:cubicBezTo>
                <a:cubicBezTo>
                  <a:pt x="349972" y="1221083"/>
                  <a:pt x="648153" y="662626"/>
                  <a:pt x="997815" y="14173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9422D26-090A-1AF3-2EA9-841625610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1996CE3-E4F9-B258-3381-D9894DAB53A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ABE0E797-4658-4DFE-6018-D98FB74717DE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2536261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699CE3-CD10-6F82-95EA-E7F76B0F4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40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99CE3-CD10-6F82-95EA-E7F76B0F4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8E668-3EA9-2ABD-8441-36F2D4ACAF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0272" y="1501775"/>
            <a:ext cx="4494528" cy="747897"/>
          </a:xfrm>
        </p:spPr>
        <p:txBody>
          <a:bodyPr vert="horz"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fr-FR"/>
              <a:t>Sommaire</a:t>
            </a:r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73B73FCA-B8D0-1803-3321-47FB1580E5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0271" y="2709144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C24E9320-DC19-61E8-605A-32F867F256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47800" y="2763923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FA21F19-0699-916D-76B5-D8D5CFE75E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66419" y="2763923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61D3AB77-4E69-3B26-1904-E9C3C29A8EF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0271" y="3259213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2</a:t>
            </a:r>
            <a:endParaRPr lang="fr-FR" dirty="0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075C46A-5FF1-6971-B941-4DCAF33C3F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47800" y="3313992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DC69141-017F-54CB-6745-EF0FA65207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66419" y="3313992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B7314D0-B424-CD63-4B8A-B0A353CE2B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0271" y="3809282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3</a:t>
            </a:r>
            <a:endParaRPr lang="fr-FR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4427665-7EA5-1931-C168-6F9EADD64C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47800" y="3864061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000BC19-DB50-E677-7355-D7CD4C78356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6419" y="3864061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7E3DB5D-9972-95BF-8E26-B41F2DD80B1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0271" y="4359351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4</a:t>
            </a:r>
            <a:endParaRPr lang="fr-FR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20FE6B7-05BF-A511-A0CC-06B5A4776B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7800" y="4414130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EB2FB84-7627-2484-7150-6E9A9BA9143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66419" y="4414130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96DDA1FC-B4C7-ACA8-6757-196599F8FE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0271" y="4909419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5</a:t>
            </a:r>
            <a:endParaRPr lang="fr-FR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F9843044-F090-699F-98AE-9CDDABBFF6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47800" y="4964198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D052443-8F73-B181-4555-CADF915EF9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66419" y="4964198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BB62A75-BE87-4F6F-2FC2-1811BCF0B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C3DD55C-F985-B54F-6A0C-19E5EBC79752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C83CD80-F80A-E1D2-E92B-F7F872D4114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042056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8E7C69-DF17-0B29-7BD9-663A95C55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2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E7C69-DF17-0B29-7BD9-663A95C55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85CD11-F9AA-5B7D-D43C-D50CEA1EC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0" y="0"/>
            <a:ext cx="6974516" cy="5407050"/>
          </a:xfrm>
          <a:custGeom>
            <a:avLst/>
            <a:gdLst>
              <a:gd name="connsiteX0" fmla="*/ 0 w 6974516"/>
              <a:gd name="connsiteY0" fmla="*/ 0 h 5407050"/>
              <a:gd name="connsiteX1" fmla="*/ 6972485 w 6974516"/>
              <a:gd name="connsiteY1" fmla="*/ 0 h 5407050"/>
              <a:gd name="connsiteX2" fmla="*/ 6974516 w 6974516"/>
              <a:gd name="connsiteY2" fmla="*/ 415321 h 5407050"/>
              <a:gd name="connsiteX3" fmla="*/ 6832570 w 6974516"/>
              <a:gd name="connsiteY3" fmla="*/ 2179000 h 5407050"/>
              <a:gd name="connsiteX4" fmla="*/ 6021251 w 6974516"/>
              <a:gd name="connsiteY4" fmla="*/ 3545492 h 5407050"/>
              <a:gd name="connsiteX5" fmla="*/ 2962407 w 6974516"/>
              <a:gd name="connsiteY5" fmla="*/ 5261450 h 5407050"/>
              <a:gd name="connsiteX6" fmla="*/ 1377598 w 6974516"/>
              <a:gd name="connsiteY6" fmla="*/ 5242584 h 5407050"/>
              <a:gd name="connsiteX7" fmla="*/ 184590 w 6974516"/>
              <a:gd name="connsiteY7" fmla="*/ 4666290 h 5407050"/>
              <a:gd name="connsiteX8" fmla="*/ 0 w 6974516"/>
              <a:gd name="connsiteY8" fmla="*/ 4560918 h 540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74516" h="5407050">
                <a:moveTo>
                  <a:pt x="0" y="0"/>
                </a:moveTo>
                <a:lnTo>
                  <a:pt x="6972485" y="0"/>
                </a:lnTo>
                <a:lnTo>
                  <a:pt x="6974516" y="415321"/>
                </a:lnTo>
                <a:cubicBezTo>
                  <a:pt x="6967656" y="1002978"/>
                  <a:pt x="6920744" y="1592249"/>
                  <a:pt x="6832570" y="2179000"/>
                </a:cubicBezTo>
                <a:cubicBezTo>
                  <a:pt x="6750753" y="2722772"/>
                  <a:pt x="6459497" y="3214184"/>
                  <a:pt x="6021251" y="3545492"/>
                </a:cubicBezTo>
                <a:cubicBezTo>
                  <a:pt x="5091189" y="4248460"/>
                  <a:pt x="4063369" y="4828854"/>
                  <a:pt x="2962407" y="5261450"/>
                </a:cubicBezTo>
                <a:cubicBezTo>
                  <a:pt x="2452128" y="5461909"/>
                  <a:pt x="1882832" y="5455150"/>
                  <a:pt x="1377598" y="5242584"/>
                </a:cubicBezTo>
                <a:cubicBezTo>
                  <a:pt x="968747" y="5070563"/>
                  <a:pt x="570651" y="4878012"/>
                  <a:pt x="184590" y="4666290"/>
                </a:cubicBezTo>
                <a:lnTo>
                  <a:pt x="0" y="4560918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</a:ln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50C3C129-1DBF-54BB-5B1D-4D0ADC287E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56325" y="2519363"/>
            <a:ext cx="790575" cy="79057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CB2426F-BABB-B082-919A-CF2EE54BDB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1612" y="3548064"/>
            <a:ext cx="5089526" cy="2281237"/>
          </a:xfrm>
        </p:spPr>
        <p:txBody>
          <a:bodyPr vert="horz"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04C8B7C-2023-3632-73B3-6E74EE866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9C5C40-9C4F-EF2A-5673-03CB4C97DD3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106C400-327A-C093-346A-0C899DA61A73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538801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chiff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D37AFD-F0BB-50F3-E5CC-6F78B7D74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10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D37AFD-F0BB-50F3-E5CC-6F78B7D74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AEA98C1-F017-CDD4-C336-F3024D4EB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3275" y="673360"/>
            <a:ext cx="5505452" cy="5511280"/>
          </a:xfrm>
          <a:custGeom>
            <a:avLst/>
            <a:gdLst>
              <a:gd name="connsiteX0" fmla="*/ 2868615 w 5505452"/>
              <a:gd name="connsiteY0" fmla="*/ 391 h 5511280"/>
              <a:gd name="connsiteX1" fmla="*/ 4341041 w 5505452"/>
              <a:gd name="connsiteY1" fmla="*/ 125478 h 5511280"/>
              <a:gd name="connsiteX2" fmla="*/ 5069657 w 5505452"/>
              <a:gd name="connsiteY2" fmla="*/ 485674 h 5511280"/>
              <a:gd name="connsiteX3" fmla="*/ 5391470 w 5505452"/>
              <a:gd name="connsiteY3" fmla="*/ 4289597 h 5511280"/>
              <a:gd name="connsiteX4" fmla="*/ 4632566 w 5505452"/>
              <a:gd name="connsiteY4" fmla="*/ 5306082 h 5511280"/>
              <a:gd name="connsiteX5" fmla="*/ 4631521 w 5505452"/>
              <a:gd name="connsiteY5" fmla="*/ 5306474 h 5511280"/>
              <a:gd name="connsiteX6" fmla="*/ 4631652 w 5505452"/>
              <a:gd name="connsiteY6" fmla="*/ 5306606 h 5511280"/>
              <a:gd name="connsiteX7" fmla="*/ 4129545 w 5505452"/>
              <a:gd name="connsiteY7" fmla="*/ 5422014 h 5511280"/>
              <a:gd name="connsiteX8" fmla="*/ 1367042 w 5505452"/>
              <a:gd name="connsiteY8" fmla="*/ 5420578 h 5511280"/>
              <a:gd name="connsiteX9" fmla="*/ 434503 w 5505452"/>
              <a:gd name="connsiteY9" fmla="*/ 5024088 h 5511280"/>
              <a:gd name="connsiteX10" fmla="*/ 91409 w 5505452"/>
              <a:gd name="connsiteY10" fmla="*/ 4142594 h 5511280"/>
              <a:gd name="connsiteX11" fmla="*/ 234364 w 5505452"/>
              <a:gd name="connsiteY11" fmla="*/ 802787 h 5511280"/>
              <a:gd name="connsiteX12" fmla="*/ 1392762 w 5505452"/>
              <a:gd name="connsiteY12" fmla="*/ 87878 h 5511280"/>
              <a:gd name="connsiteX13" fmla="*/ 2868615 w 5505452"/>
              <a:gd name="connsiteY13" fmla="*/ 391 h 55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05452" h="5511280">
                <a:moveTo>
                  <a:pt x="2868615" y="391"/>
                </a:moveTo>
                <a:cubicBezTo>
                  <a:pt x="3361469" y="4683"/>
                  <a:pt x="3853752" y="44404"/>
                  <a:pt x="4341041" y="125478"/>
                </a:cubicBezTo>
                <a:cubicBezTo>
                  <a:pt x="4610241" y="178351"/>
                  <a:pt x="4882836" y="282272"/>
                  <a:pt x="5069657" y="485674"/>
                </a:cubicBezTo>
                <a:cubicBezTo>
                  <a:pt x="5649705" y="1048487"/>
                  <a:pt x="5529595" y="3486435"/>
                  <a:pt x="5391470" y="4289597"/>
                </a:cubicBezTo>
                <a:cubicBezTo>
                  <a:pt x="5317316" y="4752277"/>
                  <a:pt x="5096290" y="5148636"/>
                  <a:pt x="4632566" y="5306082"/>
                </a:cubicBezTo>
                <a:lnTo>
                  <a:pt x="4631521" y="5306474"/>
                </a:lnTo>
                <a:lnTo>
                  <a:pt x="4631652" y="5306606"/>
                </a:lnTo>
                <a:cubicBezTo>
                  <a:pt x="4471332" y="5365615"/>
                  <a:pt x="4299655" y="5398254"/>
                  <a:pt x="4129545" y="5422014"/>
                </a:cubicBezTo>
                <a:cubicBezTo>
                  <a:pt x="3211496" y="5541340"/>
                  <a:pt x="2285092" y="5541209"/>
                  <a:pt x="1367042" y="5420578"/>
                </a:cubicBezTo>
                <a:cubicBezTo>
                  <a:pt x="1030085" y="5374494"/>
                  <a:pt x="670150" y="5281930"/>
                  <a:pt x="434503" y="5024088"/>
                </a:cubicBezTo>
                <a:cubicBezTo>
                  <a:pt x="215956" y="4788962"/>
                  <a:pt x="134361" y="4455530"/>
                  <a:pt x="91409" y="4142594"/>
                </a:cubicBezTo>
                <a:cubicBezTo>
                  <a:pt x="-25959" y="3206791"/>
                  <a:pt x="-77658" y="1685325"/>
                  <a:pt x="234364" y="802787"/>
                </a:cubicBezTo>
                <a:cubicBezTo>
                  <a:pt x="426016" y="318044"/>
                  <a:pt x="910628" y="142841"/>
                  <a:pt x="1392762" y="87878"/>
                </a:cubicBezTo>
                <a:cubicBezTo>
                  <a:pt x="1882336" y="27237"/>
                  <a:pt x="2375761" y="-3900"/>
                  <a:pt x="2868615" y="39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>
              <a:defRPr sz="2400">
                <a:solidFill>
                  <a:schemeClr val="tx2">
                    <a:alpha val="0"/>
                  </a:schemeClr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400">
                <a:latin typeface="+mn-lt"/>
              </a:defRPr>
            </a:lvl6pPr>
            <a:lvl7pPr>
              <a:defRPr sz="2400">
                <a:latin typeface="+mn-lt"/>
              </a:defRPr>
            </a:lvl7pPr>
            <a:lvl8pPr>
              <a:defRPr sz="2400">
                <a:latin typeface="+mn-lt"/>
              </a:defRPr>
            </a:lvl8pPr>
            <a:lvl9pPr>
              <a:defRPr sz="2400">
                <a:latin typeface="+mn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FB85189-C4B3-9D34-441D-0C6A1BBA4AE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9696" y="3565033"/>
            <a:ext cx="3549811" cy="1633909"/>
          </a:xfrm>
        </p:spPr>
        <p:txBody>
          <a:bodyPr anchor="ctr"/>
          <a:lstStyle>
            <a:lvl1pPr>
              <a:defRPr sz="12000">
                <a:solidFill>
                  <a:schemeClr val="tx1"/>
                </a:solidFill>
                <a:latin typeface="+mn-lt"/>
              </a:defRPr>
            </a:lvl1pPr>
            <a:lvl2pPr>
              <a:defRPr sz="13200">
                <a:solidFill>
                  <a:schemeClr val="tx1"/>
                </a:solidFill>
                <a:latin typeface="+mn-lt"/>
              </a:defRPr>
            </a:lvl2pPr>
            <a:lvl3pPr>
              <a:defRPr sz="13200">
                <a:solidFill>
                  <a:schemeClr val="tx1"/>
                </a:solidFill>
                <a:latin typeface="+mn-lt"/>
              </a:defRPr>
            </a:lvl3pPr>
            <a:lvl4pPr>
              <a:defRPr sz="13200">
                <a:solidFill>
                  <a:schemeClr val="tx1"/>
                </a:solidFill>
                <a:latin typeface="+mn-lt"/>
              </a:defRPr>
            </a:lvl4pPr>
            <a:lvl5pPr>
              <a:defRPr sz="13200">
                <a:solidFill>
                  <a:schemeClr val="tx1"/>
                </a:solidFill>
                <a:latin typeface="+mn-lt"/>
              </a:defRPr>
            </a:lvl5pPr>
            <a:lvl6pPr>
              <a:defRPr sz="13200">
                <a:solidFill>
                  <a:schemeClr val="tx1"/>
                </a:solidFill>
                <a:latin typeface="+mn-lt"/>
              </a:defRPr>
            </a:lvl6pPr>
            <a:lvl7pPr>
              <a:defRPr sz="13200">
                <a:solidFill>
                  <a:schemeClr val="tx1"/>
                </a:solidFill>
                <a:latin typeface="+mn-lt"/>
              </a:defRPr>
            </a:lvl7pPr>
            <a:lvl8pPr>
              <a:defRPr sz="13200">
                <a:solidFill>
                  <a:schemeClr val="tx1"/>
                </a:solidFill>
                <a:latin typeface="+mn-lt"/>
              </a:defRPr>
            </a:lvl8pPr>
            <a:lvl9pPr>
              <a:defRPr sz="13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123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6" name="Titre 15">
            <a:extLst>
              <a:ext uri="{FF2B5EF4-FFF2-40B4-BE49-F238E27FC236}">
                <a16:creationId xmlns:a16="http://schemas.microsoft.com/office/drawing/2014/main" id="{40399346-13F7-EC69-5236-A351BFB43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656" y="1512574"/>
            <a:ext cx="2606400" cy="1818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2200" b="0"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F7804065-68C9-E8A0-496C-7A2E6872670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3E7FE49F-28D0-9363-FFBC-65081A0523E6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634C1EE8-95C3-E334-A72B-907ED462F4C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5546" y="1503363"/>
            <a:ext cx="3168454" cy="3778250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56824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graphiq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87FC1-1FD0-043B-6487-9A3FBDBF6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497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87FC1-1FD0-043B-6487-9A3FBDBF6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4833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0B8556-D223-3D8F-787C-2571FE181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1279232"/>
            <a:ext cx="4697186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F1A2DC-F24C-C692-E909-64EAACD1B2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2768599"/>
            <a:ext cx="4695825" cy="2513013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FEB89C-3196-997C-32D8-873CDD991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49" y="1589088"/>
            <a:ext cx="2448599" cy="712787"/>
          </a:xfrm>
        </p:spPr>
        <p:txBody>
          <a:bodyPr anchor="ctr"/>
          <a:lstStyle>
            <a:lvl1pPr algn="r" rtl="0">
              <a:defRPr sz="1200">
                <a:solidFill>
                  <a:schemeClr val="tx1"/>
                </a:solidFill>
              </a:defRPr>
            </a:lvl1pPr>
            <a:lvl2pPr algn="r">
              <a:defRPr lang="fr-FR" sz="1200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r">
              <a:defRPr sz="1200">
                <a:solidFill>
                  <a:schemeClr val="tx1"/>
                </a:solidFill>
              </a:defRPr>
            </a:lvl3pPr>
            <a:lvl4pPr algn="r">
              <a:defRPr sz="1200">
                <a:solidFill>
                  <a:schemeClr val="tx1"/>
                </a:solidFill>
              </a:defRPr>
            </a:lvl4pPr>
            <a:lvl5pPr algn="r">
              <a:defRPr sz="1200">
                <a:solidFill>
                  <a:schemeClr val="tx1"/>
                </a:solidFill>
              </a:defRPr>
            </a:lvl5pPr>
            <a:lvl6pPr algn="r">
              <a:defRPr sz="1200">
                <a:solidFill>
                  <a:schemeClr val="tx1"/>
                </a:solidFill>
              </a:defRPr>
            </a:lvl6pPr>
            <a:lvl7pPr algn="r">
              <a:defRPr sz="1200">
                <a:solidFill>
                  <a:schemeClr val="tx1"/>
                </a:solidFill>
              </a:defRPr>
            </a:lvl7pPr>
            <a:lvl8pPr algn="r">
              <a:defRPr sz="1200">
                <a:solidFill>
                  <a:schemeClr val="tx1"/>
                </a:solidFill>
              </a:defRPr>
            </a:lvl8pPr>
            <a:lvl9pPr algn="r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noProof="0" dirty="0"/>
              <a:t>Légend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id="{0CC9EDCF-AD58-FDCC-321C-17C24484F42C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203949" y="2501900"/>
            <a:ext cx="5437188" cy="277971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7DD9531-BEB9-A091-6FE5-BE1B6AD609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16717" y="1503362"/>
            <a:ext cx="0" cy="1800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D33963E-9E4F-B88A-245F-9EDDDDE104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9538" y="1503363"/>
            <a:ext cx="2294611" cy="1316038"/>
          </a:xfrm>
        </p:spPr>
        <p:txBody>
          <a:bodyPr anchor="t"/>
          <a:lstStyle>
            <a:lvl1pPr>
              <a:defRPr sz="4800"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  <a:lvl6pPr>
              <a:defRPr sz="1200">
                <a:solidFill>
                  <a:schemeClr val="tx1"/>
                </a:solidFill>
                <a:latin typeface="+mn-lt"/>
              </a:defRPr>
            </a:lvl6pPr>
            <a:lvl7pPr>
              <a:defRPr sz="1200">
                <a:solidFill>
                  <a:schemeClr val="tx1"/>
                </a:solidFill>
                <a:latin typeface="+mn-lt"/>
              </a:defRPr>
            </a:lvl7pPr>
            <a:lvl8pPr>
              <a:defRPr sz="1200">
                <a:solidFill>
                  <a:schemeClr val="tx1"/>
                </a:solidFill>
                <a:latin typeface="+mn-lt"/>
              </a:defRPr>
            </a:lvl8pPr>
            <a:lvl9pPr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00</a:t>
            </a:r>
          </a:p>
          <a:p>
            <a:pPr lvl="1"/>
            <a:r>
              <a:rPr lang="fr-FR"/>
              <a:t>Second level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ED2E36-89E2-288D-92E1-24C48CD5C35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45977B1C-54CB-D689-0F46-7DEC1CA5B5A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4005006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image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BC366C-44BA-C9B6-5004-F41F5BF23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28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C366C-44BA-C9B6-5004-F41F5BF23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B183AF7-879A-2AFA-21DC-289DBC68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380072"/>
            <a:ext cx="4697186" cy="1325563"/>
          </a:xfrm>
        </p:spPr>
        <p:txBody>
          <a:bodyPr vert="horz" anchor="ctr"/>
          <a:lstStyle>
            <a:lvl1pPr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D706AA7-5A5B-17DB-0FE9-28DF9E7E86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lang="en-US" sz="2200" kern="1200" spc="-2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3875C6-8834-F3EC-0C6F-03493468ACB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203950" y="0"/>
            <a:ext cx="5988048" cy="5816599"/>
          </a:xfrm>
          <a:custGeom>
            <a:avLst/>
            <a:gdLst>
              <a:gd name="connsiteX0" fmla="*/ 977798 w 5988048"/>
              <a:gd name="connsiteY0" fmla="*/ 0 h 5816599"/>
              <a:gd name="connsiteX1" fmla="*/ 5988048 w 5988048"/>
              <a:gd name="connsiteY1" fmla="*/ 0 h 5816599"/>
              <a:gd name="connsiteX2" fmla="*/ 5988048 w 5988048"/>
              <a:gd name="connsiteY2" fmla="*/ 5317928 h 5816599"/>
              <a:gd name="connsiteX3" fmla="*/ 5954698 w 5988048"/>
              <a:gd name="connsiteY3" fmla="*/ 5349988 h 5816599"/>
              <a:gd name="connsiteX4" fmla="*/ 5129858 w 5988048"/>
              <a:gd name="connsiteY4" fmla="*/ 5725478 h 5816599"/>
              <a:gd name="connsiteX5" fmla="*/ 4132887 w 5988048"/>
              <a:gd name="connsiteY5" fmla="*/ 5810952 h 5816599"/>
              <a:gd name="connsiteX6" fmla="*/ 3800853 w 5988048"/>
              <a:gd name="connsiteY6" fmla="*/ 5816599 h 5816599"/>
              <a:gd name="connsiteX7" fmla="*/ 3800789 w 5988048"/>
              <a:gd name="connsiteY7" fmla="*/ 5816599 h 5816599"/>
              <a:gd name="connsiteX8" fmla="*/ 3468755 w 5988048"/>
              <a:gd name="connsiteY8" fmla="*/ 5811044 h 5816599"/>
              <a:gd name="connsiteX9" fmla="*/ 2471784 w 5988048"/>
              <a:gd name="connsiteY9" fmla="*/ 5725478 h 5816599"/>
              <a:gd name="connsiteX10" fmla="*/ 1435926 w 5988048"/>
              <a:gd name="connsiteY10" fmla="*/ 5126243 h 5816599"/>
              <a:gd name="connsiteX11" fmla="*/ 116628 w 5988048"/>
              <a:gd name="connsiteY11" fmla="*/ 2836109 h 5816599"/>
              <a:gd name="connsiteX12" fmla="*/ 116628 w 5988048"/>
              <a:gd name="connsiteY12" fmla="*/ 1641437 h 5816599"/>
              <a:gd name="connsiteX13" fmla="*/ 784436 w 5988048"/>
              <a:gd name="connsiteY13" fmla="*/ 304505 h 5816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88048" h="5816599">
                <a:moveTo>
                  <a:pt x="977798" y="0"/>
                </a:moveTo>
                <a:lnTo>
                  <a:pt x="5988048" y="0"/>
                </a:lnTo>
                <a:lnTo>
                  <a:pt x="5988048" y="5317928"/>
                </a:lnTo>
                <a:lnTo>
                  <a:pt x="5954698" y="5349988"/>
                </a:lnTo>
                <a:cubicBezTo>
                  <a:pt x="5723856" y="5551247"/>
                  <a:pt x="5437398" y="5682887"/>
                  <a:pt x="5129858" y="5725478"/>
                </a:cubicBezTo>
                <a:cubicBezTo>
                  <a:pt x="4797928" y="5771286"/>
                  <a:pt x="4465164" y="5799638"/>
                  <a:pt x="4132887" y="5810952"/>
                </a:cubicBezTo>
                <a:lnTo>
                  <a:pt x="3800853" y="5816599"/>
                </a:lnTo>
                <a:lnTo>
                  <a:pt x="3800789" y="5816599"/>
                </a:lnTo>
                <a:lnTo>
                  <a:pt x="3468755" y="5811044"/>
                </a:lnTo>
                <a:cubicBezTo>
                  <a:pt x="3136478" y="5799793"/>
                  <a:pt x="2803713" y="5771410"/>
                  <a:pt x="2471784" y="5725478"/>
                </a:cubicBezTo>
                <a:cubicBezTo>
                  <a:pt x="2061897" y="5668690"/>
                  <a:pt x="1689320" y="5453593"/>
                  <a:pt x="1435926" y="5126243"/>
                </a:cubicBezTo>
                <a:cubicBezTo>
                  <a:pt x="898269" y="4431593"/>
                  <a:pt x="452231" y="3661997"/>
                  <a:pt x="116628" y="2836109"/>
                </a:cubicBezTo>
                <a:cubicBezTo>
                  <a:pt x="-38876" y="2453292"/>
                  <a:pt x="-38876" y="2024254"/>
                  <a:pt x="116628" y="1641437"/>
                </a:cubicBezTo>
                <a:cubicBezTo>
                  <a:pt x="305404" y="1176875"/>
                  <a:pt x="529124" y="730125"/>
                  <a:pt x="784436" y="304505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91FA749-0AB6-BAA9-E7E8-FE1C86D77D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BEACFE-831D-FA05-F069-17FCDC314FCC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D0D3047-C507-2E11-B5C0-D859B698C89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0121624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enc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603BC-AA75-68C3-FD43-1A7077A4D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366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603BC-AA75-68C3-FD43-1A7077A4D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34EF12B4-AA43-4053-A66C-946FE68344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7256" y="574675"/>
            <a:ext cx="5079208" cy="1463935"/>
          </a:xfrm>
        </p:spPr>
        <p:txBody>
          <a:bodyPr vert="horz" anchor="t"/>
          <a:lstStyle>
            <a:lvl1pPr>
              <a:defRPr lang="fr-FR" sz="4800" dirty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title</a:t>
            </a:r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9DF51427-88DB-D49F-5F03-7036FB8CA38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950" y="574675"/>
            <a:ext cx="5437188" cy="1463935"/>
          </a:xfrm>
        </p:spPr>
        <p:txBody>
          <a:bodyPr anchor="t"/>
          <a:lstStyle>
            <a:lvl1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5pPr>
            <a:lvl6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6pPr>
            <a:lvl7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7pPr>
            <a:lvl8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8pPr>
            <a:lvl9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fr-FR"/>
              <a:t>Click to edit Master text styles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29BF562-98DD-315E-A97B-ECF8465E73E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9479" y="2420079"/>
            <a:ext cx="3292298" cy="3295782"/>
          </a:xfrm>
          <a:prstGeom prst="roundRect">
            <a:avLst/>
          </a:prstGeom>
          <a:solidFill>
            <a:schemeClr val="accent2"/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C28AA431-B134-94DB-ED63-488184724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34489" y="2767024"/>
            <a:ext cx="609980" cy="60998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03E6A5B2-F702-AF15-CE11-C2A18E95FB69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82692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81EAFF9-5B77-0ACC-8C35-C4C8E87F1C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14951" y="2420079"/>
            <a:ext cx="3292298" cy="3295782"/>
          </a:xfrm>
          <a:prstGeom prst="roundRect">
            <a:avLst/>
          </a:prstGeom>
          <a:solidFill>
            <a:srgbClr val="E793BE"/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F606C3A-EBE4-E88B-EF63-58F588497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309961" y="2767024"/>
            <a:ext cx="609980" cy="609980"/>
          </a:xfrm>
          <a:prstGeom prst="ellipse">
            <a:avLst/>
          </a:prstGeom>
          <a:solidFill>
            <a:srgbClr val="EFC9DC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43026DA-1F0C-57E8-84F9-017BDC7BD0ED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8164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B27D59E6-1616-CEE7-69D6-36B19579669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91216" y="2420079"/>
            <a:ext cx="3292298" cy="3295782"/>
          </a:xfrm>
          <a:prstGeom prst="roundRect">
            <a:avLst/>
          </a:prstGeom>
          <a:solidFill>
            <a:schemeClr val="tx2"/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AE453FD-E568-AEAA-B810-6ADE4D2B4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085433" y="2767024"/>
            <a:ext cx="609980" cy="60998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tx1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D98AD34D-61AD-643B-EAA3-BFF5792F263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133636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tx2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dirty="0"/>
              <a:t>Picto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AF16EDB-3137-6B9E-C9C2-56784BFC169C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B4CD95-AEDB-8CAD-CB17-67579BF4B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0118876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2 encar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049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: Shape 5">
            <a:extLst>
              <a:ext uri="{FF2B5EF4-FFF2-40B4-BE49-F238E27FC236}">
                <a16:creationId xmlns:a16="http://schemas.microsoft.com/office/drawing/2014/main" id="{22F5BEF9-B798-4BDF-B127-87ECD9F0FC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-3" y="0"/>
            <a:ext cx="5587629" cy="6858000"/>
          </a:xfrm>
          <a:custGeom>
            <a:avLst/>
            <a:gdLst>
              <a:gd name="connsiteX0" fmla="*/ 378139 w 5075326"/>
              <a:gd name="connsiteY0" fmla="*/ 0 h 6858000"/>
              <a:gd name="connsiteX1" fmla="*/ 5075326 w 5075326"/>
              <a:gd name="connsiteY1" fmla="*/ 0 h 6858000"/>
              <a:gd name="connsiteX2" fmla="*/ 5075326 w 5075326"/>
              <a:gd name="connsiteY2" fmla="*/ 6858000 h 6858000"/>
              <a:gd name="connsiteX3" fmla="*/ 365542 w 5075326"/>
              <a:gd name="connsiteY3" fmla="*/ 6858000 h 6858000"/>
              <a:gd name="connsiteX4" fmla="*/ 363417 w 5075326"/>
              <a:gd name="connsiteY4" fmla="*/ 6852613 h 6858000"/>
              <a:gd name="connsiteX5" fmla="*/ 168536 w 5075326"/>
              <a:gd name="connsiteY5" fmla="*/ 5986189 h 6858000"/>
              <a:gd name="connsiteX6" fmla="*/ 331966 w 5075326"/>
              <a:gd name="connsiteY6" fmla="*/ 1467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326" h="6858000">
                <a:moveTo>
                  <a:pt x="378139" y="0"/>
                </a:moveTo>
                <a:lnTo>
                  <a:pt x="5075326" y="0"/>
                </a:lnTo>
                <a:lnTo>
                  <a:pt x="5075326" y="6858000"/>
                </a:lnTo>
                <a:lnTo>
                  <a:pt x="365542" y="6858000"/>
                </a:lnTo>
                <a:lnTo>
                  <a:pt x="363417" y="6852613"/>
                </a:lnTo>
                <a:cubicBezTo>
                  <a:pt x="265540" y="6572611"/>
                  <a:pt x="208132" y="6274676"/>
                  <a:pt x="168536" y="5986189"/>
                </a:cubicBezTo>
                <a:cubicBezTo>
                  <a:pt x="-34336" y="4368644"/>
                  <a:pt x="-130792" y="1802044"/>
                  <a:pt x="331966" y="146786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lIns="540000" tIns="360000" rIns="288000" rtlCol="0" anchor="t"/>
          <a:lstStyle/>
          <a:p>
            <a:pPr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  <a:latin typeface="Marianne Light" panose="02000000000000000000" pitchFamily="2" charset="0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4675" y="380072"/>
            <a:ext cx="4071602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B8E6E82-8A6B-2C99-8BD3-F8C245E081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4676" y="1869439"/>
            <a:ext cx="4070422" cy="3947159"/>
          </a:xfrm>
        </p:spPr>
        <p:txBody>
          <a:bodyPr/>
          <a:lstStyle>
            <a:lvl1pPr>
              <a:spcAft>
                <a:spcPts val="2400"/>
              </a:spcAft>
              <a:defRPr sz="2200">
                <a:solidFill>
                  <a:schemeClr val="bg1"/>
                </a:solidFill>
              </a:defRPr>
            </a:lvl1pPr>
            <a:lvl2pPr>
              <a:spcAft>
                <a:spcPts val="1200"/>
              </a:spcAft>
              <a:defRPr sz="2200">
                <a:solidFill>
                  <a:schemeClr val="bg1"/>
                </a:solidFill>
              </a:defRPr>
            </a:lvl2pPr>
            <a:lvl3pPr>
              <a:spcAft>
                <a:spcPts val="1200"/>
              </a:spcAft>
              <a:defRPr sz="1800">
                <a:solidFill>
                  <a:schemeClr val="bg1"/>
                </a:solidFill>
              </a:defRPr>
            </a:lvl3pPr>
            <a:lvl4pPr>
              <a:spcAft>
                <a:spcPts val="12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12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2B7FD5C-6687-6D69-BD19-BCB5FB5DB07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473226" y="574674"/>
            <a:ext cx="5137837" cy="22902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108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92E29AB-80FC-8D0E-7245-540A9181F8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473226" y="3526388"/>
            <a:ext cx="5137837" cy="22902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lIns="108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tx2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A8F993-E9C6-4879-8876-5511108B5C62}" type="slidenum">
              <a:rPr lang="fr-FR" smtClean="0"/>
              <a:pPr/>
              <a:t>‹N°›</a:t>
            </a:fld>
            <a:r>
              <a:rPr lang="fr-FR" dirty="0"/>
              <a:t> |</a:t>
            </a:r>
          </a:p>
        </p:txBody>
      </p:sp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D98ECA47-8943-4A1D-4E62-C540621E66B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82289" y="978331"/>
            <a:ext cx="1482902" cy="1482898"/>
          </a:xfrm>
          <a:prstGeom prst="rect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E260DB9C-81D9-94C9-7284-48204179D6C8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882289" y="3930045"/>
            <a:ext cx="1482902" cy="1482898"/>
          </a:xfrm>
          <a:prstGeom prst="rect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1147221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60AD59-D9D5-7C64-F119-61EC0D4BB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78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0AD59-D9D5-7C64-F119-61EC0D4BB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932022-157D-1370-3310-AACB88CF8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1" y="1843991"/>
            <a:ext cx="6205537" cy="5014009"/>
          </a:xfrm>
          <a:custGeom>
            <a:avLst/>
            <a:gdLst>
              <a:gd name="connsiteX0" fmla="*/ 0 w 6046847"/>
              <a:gd name="connsiteY0" fmla="*/ 4885789 h 4885789"/>
              <a:gd name="connsiteX1" fmla="*/ 170126 w 6046847"/>
              <a:gd name="connsiteY1" fmla="*/ 4840091 h 4885789"/>
              <a:gd name="connsiteX2" fmla="*/ 381130 w 6046847"/>
              <a:gd name="connsiteY2" fmla="*/ 4766650 h 4885789"/>
              <a:gd name="connsiteX3" fmla="*/ 4824470 w 6046847"/>
              <a:gd name="connsiteY3" fmla="*/ 2303176 h 4885789"/>
              <a:gd name="connsiteX4" fmla="*/ 5999848 w 6046847"/>
              <a:gd name="connsiteY4" fmla="*/ 349430 h 4885789"/>
              <a:gd name="connsiteX5" fmla="*/ 6046847 w 6046847"/>
              <a:gd name="connsiteY5" fmla="*/ 0 h 4885789"/>
              <a:gd name="connsiteX6" fmla="*/ 0 w 6046847"/>
              <a:gd name="connsiteY6" fmla="*/ 0 h 48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6847" h="4885789">
                <a:moveTo>
                  <a:pt x="0" y="4885789"/>
                </a:moveTo>
                <a:lnTo>
                  <a:pt x="170126" y="4840091"/>
                </a:lnTo>
                <a:cubicBezTo>
                  <a:pt x="241132" y="4818239"/>
                  <a:pt x="311516" y="4793760"/>
                  <a:pt x="381130" y="4766650"/>
                </a:cubicBezTo>
                <a:cubicBezTo>
                  <a:pt x="1957046" y="4152868"/>
                  <a:pt x="3454842" y="3327794"/>
                  <a:pt x="4824470" y="2303176"/>
                </a:cubicBezTo>
                <a:cubicBezTo>
                  <a:pt x="5459151" y="1828356"/>
                  <a:pt x="5881345" y="1126520"/>
                  <a:pt x="5999848" y="349430"/>
                </a:cubicBezTo>
                <a:lnTo>
                  <a:pt x="604684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72F42F-FE27-09E8-91A8-7BA1EB3875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4675" y="587374"/>
            <a:ext cx="4432300" cy="5241925"/>
          </a:xfrm>
        </p:spPr>
        <p:txBody>
          <a:bodyPr anchor="ctr"/>
          <a:lstStyle>
            <a:lvl1pPr algn="ctr">
              <a:defRPr sz="1200" b="1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443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533FCBD-DAE8-F5A3-E555-B5587B429A0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4630" y="1869439"/>
            <a:ext cx="5436508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>
                <a:solidFill>
                  <a:schemeClr val="accent6"/>
                </a:solidFill>
              </a:defRPr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7CFE410-8CFF-B7FB-4AEB-09F8DDDDD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5" name="Titre 14">
            <a:extLst>
              <a:ext uri="{FF2B5EF4-FFF2-40B4-BE49-F238E27FC236}">
                <a16:creationId xmlns:a16="http://schemas.microsoft.com/office/drawing/2014/main" id="{1C8D1F4F-83C7-1A41-DAC5-B43B16CDA0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434" y="380835"/>
            <a:ext cx="5439600" cy="13248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480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fr-FR" dirty="0"/>
              <a:t>Click </a:t>
            </a:r>
            <a:r>
              <a:rPr lang="fr-FR"/>
              <a:t>to edit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77FC4FD-7BA5-8C66-FB8D-0BB2E3B25E8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52CE2-86FD-14E7-8C4E-090F69AB1B8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A8F993-E9C6-4879-8876-5511108B5C62}" type="slidenum">
              <a:rPr lang="fr-FR" smtClean="0"/>
              <a:pPr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084922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deux contenus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1A4A706-374B-9D30-F8E0-8CED29F57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847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4A706-374B-9D30-F8E0-8CED29F57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4CD58D7-78D8-5A17-A188-238F3302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0"/>
            <a:ext cx="1309535" cy="5204582"/>
          </a:xfrm>
          <a:custGeom>
            <a:avLst/>
            <a:gdLst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309535 w 1400975"/>
              <a:gd name="connsiteY0" fmla="*/ 5204582 h 5296022"/>
              <a:gd name="connsiteX1" fmla="*/ 121487 w 1400975"/>
              <a:gd name="connsiteY1" fmla="*/ 5204582 h 5296022"/>
              <a:gd name="connsiteX2" fmla="*/ 120441 w 1400975"/>
              <a:gd name="connsiteY2" fmla="*/ 5199379 h 5296022"/>
              <a:gd name="connsiteX3" fmla="*/ 1298653 w 1400975"/>
              <a:gd name="connsiteY3" fmla="*/ 11547 h 5296022"/>
              <a:gd name="connsiteX4" fmla="*/ 1309535 w 1400975"/>
              <a:gd name="connsiteY4" fmla="*/ 0 h 5296022"/>
              <a:gd name="connsiteX5" fmla="*/ 1400975 w 1400975"/>
              <a:gd name="connsiteY5" fmla="*/ 5296022 h 5296022"/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21487 w 1309535"/>
              <a:gd name="connsiteY0" fmla="*/ 5204582 h 5204582"/>
              <a:gd name="connsiteX1" fmla="*/ 120441 w 1309535"/>
              <a:gd name="connsiteY1" fmla="*/ 5199379 h 5204582"/>
              <a:gd name="connsiteX2" fmla="*/ 1298653 w 1309535"/>
              <a:gd name="connsiteY2" fmla="*/ 11547 h 5204582"/>
              <a:gd name="connsiteX3" fmla="*/ 1309535 w 1309535"/>
              <a:gd name="connsiteY3" fmla="*/ 0 h 520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9535" h="5204582">
                <a:moveTo>
                  <a:pt x="121487" y="5204582"/>
                </a:moveTo>
                <a:lnTo>
                  <a:pt x="120441" y="5199379"/>
                </a:lnTo>
                <a:cubicBezTo>
                  <a:pt x="-176764" y="3459435"/>
                  <a:pt x="25807" y="1522431"/>
                  <a:pt x="1298653" y="11547"/>
                </a:cubicBezTo>
                <a:lnTo>
                  <a:pt x="1309535" y="0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lIns="540000" tIns="360000" rIns="288000" rtlCol="0" anchor="t"/>
          <a:lstStyle/>
          <a:p>
            <a:pPr lvl="0"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B23A81C-0601-8D71-6316-415A0C023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6613" y="1910376"/>
            <a:ext cx="790575" cy="790575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3800" dirty="0">
                <a:solidFill>
                  <a:schemeClr val="accent3">
                    <a:alpha val="0"/>
                  </a:schemeClr>
                </a:solidFill>
                <a:latin typeface="+mn-lt"/>
              </a:defRPr>
            </a:lvl1pPr>
          </a:lstStyle>
          <a:p>
            <a:pPr lvl="0" algn="ctr">
              <a:spcAft>
                <a:spcPts val="0"/>
              </a:spcAft>
            </a:pPr>
            <a:endParaRPr lang="fr-FR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9B37FF7-EEC5-C617-9A0E-73FBD2B66A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1701" y="1975464"/>
            <a:ext cx="660400" cy="660400"/>
          </a:xfrm>
          <a:prstGeom prst="ellipse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16" name="Title 29">
            <a:extLst>
              <a:ext uri="{FF2B5EF4-FFF2-40B4-BE49-F238E27FC236}">
                <a16:creationId xmlns:a16="http://schemas.microsoft.com/office/drawing/2014/main" id="{8696F007-0692-050C-3E59-5803D154D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5185" y="574675"/>
            <a:ext cx="9720552" cy="711200"/>
          </a:xfrm>
        </p:spPr>
        <p:txBody>
          <a:bodyPr vert="horz" anchor="t"/>
          <a:lstStyle>
            <a:lvl1pPr>
              <a:defRPr sz="4800" spc="-20">
                <a:solidFill>
                  <a:schemeClr val="accent6"/>
                </a:solidFill>
              </a:defRPr>
            </a:lvl1pPr>
          </a:lstStyle>
          <a:p>
            <a:r>
              <a:rPr lang="fr-FR"/>
              <a:t>Click to edit Master title</a:t>
            </a:r>
            <a:endParaRPr lang="fr-FR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A77F08A-B5CB-709C-4BD6-D127EAA251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95187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5pPr>
            <a:lvl6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6pPr>
            <a:lvl7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7pPr>
            <a:lvl8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8pPr>
            <a:lvl9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pic>
        <p:nvPicPr>
          <p:cNvPr id="8" name="Graphic 1">
            <a:extLst>
              <a:ext uri="{FF2B5EF4-FFF2-40B4-BE49-F238E27FC236}">
                <a16:creationId xmlns:a16="http://schemas.microsoft.com/office/drawing/2014/main" id="{53A8FFC1-B893-1D6B-1858-69770A7DB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22C13602-EAC4-1F00-D9C9-4B49878515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59323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5pPr>
            <a:lvl6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6pPr>
            <a:lvl7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7pPr>
            <a:lvl8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8pPr>
            <a:lvl9pPr>
              <a:spcBef>
                <a:spcPts val="0"/>
              </a:spcBef>
              <a:spcAft>
                <a:spcPts val="1200"/>
              </a:spcAft>
              <a:defRPr sz="1200"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AFE0A7-2F66-D4DA-BD76-32D0296E5195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1F30017-7B94-B163-F393-59C8CAA229C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2531058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603BC-AA75-68C3-FD43-1A7077A4D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2626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603BC-AA75-68C3-FD43-1A7077A4D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AF16EDB-3137-6B9E-C9C2-56784BFC169C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B4CD95-AEDB-8CAD-CB17-67579BF4B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9FD1D58D-8A69-FA24-D97A-1A3C5656B2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EB5E78B7-22B0-C8EE-9699-50691A7F60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4" y="380072"/>
            <a:ext cx="10743293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71848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603BC-AA75-68C3-FD43-1A7077A4D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934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603BC-AA75-68C3-FD43-1A7077A4D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AF16EDB-3137-6B9E-C9C2-56784BFC169C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B4CD95-AEDB-8CAD-CB17-67579BF4B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772112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message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E311B81-2EFE-2000-6EA1-82D1196E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88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11B81-2EFE-2000-6EA1-82D1196E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D3A77740-3A3D-F791-854D-0F4814163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83911" y="531196"/>
            <a:ext cx="738804" cy="738804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9C643844-DA3F-41F5-7AB6-D88131492F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2294" y="589580"/>
            <a:ext cx="622038" cy="622036"/>
          </a:xfrm>
          <a:prstGeom prst="ellipse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4017B8-F748-6085-9C91-50486A2CA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911" y="1511011"/>
            <a:ext cx="5402552" cy="4365625"/>
          </a:xfrm>
        </p:spPr>
        <p:txBody>
          <a:bodyPr vert="horz" anchor="t"/>
          <a:lstStyle>
            <a:lvl1pPr>
              <a:defRPr sz="3600"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fr-FR"/>
              <a:t>Lorem ipsum dolor sit amet, consectetuer adipiscing elit. Maecenas porttitor congue massa. Fusce posuere, magna sed pulvinar ultricies</a:t>
            </a:r>
            <a:endParaRPr lang="fr-FR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E95B0267-835E-C716-5BD8-2F5CF3E18F7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990020" y="3"/>
            <a:ext cx="5201978" cy="5281610"/>
          </a:xfrm>
          <a:custGeom>
            <a:avLst/>
            <a:gdLst>
              <a:gd name="connsiteX0" fmla="*/ 1100062 w 5689601"/>
              <a:gd name="connsiteY0" fmla="*/ 0 h 5776697"/>
              <a:gd name="connsiteX1" fmla="*/ 5689601 w 5689601"/>
              <a:gd name="connsiteY1" fmla="*/ 0 h 5776697"/>
              <a:gd name="connsiteX2" fmla="*/ 5689601 w 5689601"/>
              <a:gd name="connsiteY2" fmla="*/ 5302880 h 5776697"/>
              <a:gd name="connsiteX3" fmla="*/ 5657913 w 5689601"/>
              <a:gd name="connsiteY3" fmla="*/ 5333342 h 5776697"/>
              <a:gd name="connsiteX4" fmla="*/ 4874183 w 5689601"/>
              <a:gd name="connsiteY4" fmla="*/ 5690117 h 5776697"/>
              <a:gd name="connsiteX5" fmla="*/ 3926902 w 5689601"/>
              <a:gd name="connsiteY5" fmla="*/ 5771331 h 5776697"/>
              <a:gd name="connsiteX6" fmla="*/ 3611417 w 5689601"/>
              <a:gd name="connsiteY6" fmla="*/ 5776697 h 5776697"/>
              <a:gd name="connsiteX7" fmla="*/ 3611356 w 5689601"/>
              <a:gd name="connsiteY7" fmla="*/ 5776697 h 5776697"/>
              <a:gd name="connsiteX8" fmla="*/ 3295871 w 5689601"/>
              <a:gd name="connsiteY8" fmla="*/ 5771419 h 5776697"/>
              <a:gd name="connsiteX9" fmla="*/ 2348589 w 5689601"/>
              <a:gd name="connsiteY9" fmla="*/ 5690117 h 5776697"/>
              <a:gd name="connsiteX10" fmla="*/ 1364359 w 5689601"/>
              <a:gd name="connsiteY10" fmla="*/ 5120748 h 5776697"/>
              <a:gd name="connsiteX11" fmla="*/ 110815 w 5689601"/>
              <a:gd name="connsiteY11" fmla="*/ 2944756 h 5776697"/>
              <a:gd name="connsiteX12" fmla="*/ 110815 w 5689601"/>
              <a:gd name="connsiteY12" fmla="*/ 1809627 h 5776697"/>
              <a:gd name="connsiteX13" fmla="*/ 997815 w 5689601"/>
              <a:gd name="connsiteY13" fmla="*/ 141732 h 5776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9601" h="5776697">
                <a:moveTo>
                  <a:pt x="1100062" y="0"/>
                </a:moveTo>
                <a:lnTo>
                  <a:pt x="5689601" y="0"/>
                </a:lnTo>
                <a:lnTo>
                  <a:pt x="5689601" y="5302880"/>
                </a:lnTo>
                <a:lnTo>
                  <a:pt x="5657913" y="5333342"/>
                </a:lnTo>
                <a:cubicBezTo>
                  <a:pt x="5438577" y="5524570"/>
                  <a:pt x="5166395" y="5649649"/>
                  <a:pt x="4874183" y="5690117"/>
                </a:cubicBezTo>
                <a:cubicBezTo>
                  <a:pt x="4558797" y="5733642"/>
                  <a:pt x="4242618" y="5760581"/>
                  <a:pt x="3926902" y="5771331"/>
                </a:cubicBezTo>
                <a:lnTo>
                  <a:pt x="3611417" y="5776697"/>
                </a:lnTo>
                <a:lnTo>
                  <a:pt x="3611356" y="5776697"/>
                </a:lnTo>
                <a:lnTo>
                  <a:pt x="3295871" y="5771419"/>
                </a:lnTo>
                <a:cubicBezTo>
                  <a:pt x="2980154" y="5760728"/>
                  <a:pt x="2663975" y="5733760"/>
                  <a:pt x="2348589" y="5690117"/>
                </a:cubicBezTo>
                <a:cubicBezTo>
                  <a:pt x="1959131" y="5636160"/>
                  <a:pt x="1605123" y="5431783"/>
                  <a:pt x="1364359" y="5120748"/>
                </a:cubicBezTo>
                <a:cubicBezTo>
                  <a:pt x="853499" y="4460720"/>
                  <a:pt x="429691" y="3729481"/>
                  <a:pt x="110815" y="2944756"/>
                </a:cubicBezTo>
                <a:cubicBezTo>
                  <a:pt x="-36938" y="2581019"/>
                  <a:pt x="-36938" y="2173364"/>
                  <a:pt x="110815" y="1809627"/>
                </a:cubicBezTo>
                <a:cubicBezTo>
                  <a:pt x="349972" y="1221083"/>
                  <a:pt x="648153" y="662626"/>
                  <a:pt x="997815" y="14173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9422D26-090A-1AF3-2EA9-841625610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1996CE3-E4F9-B258-3381-D9894DAB53A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ABE0E797-4658-4DFE-6018-D98FB74717DE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19612476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rme libre 10">
            <a:extLst>
              <a:ext uri="{FF2B5EF4-FFF2-40B4-BE49-F238E27FC236}">
                <a16:creationId xmlns:a16="http://schemas.microsoft.com/office/drawing/2014/main" id="{CB5343B9-4000-0D59-D0B9-3C600DB7EA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1055" y="388976"/>
            <a:ext cx="9020946" cy="6469024"/>
          </a:xfrm>
          <a:custGeom>
            <a:avLst/>
            <a:gdLst>
              <a:gd name="connsiteX0" fmla="*/ 4945505 w 9020946"/>
              <a:gd name="connsiteY0" fmla="*/ 0 h 6469024"/>
              <a:gd name="connsiteX1" fmla="*/ 5771187 w 9020946"/>
              <a:gd name="connsiteY1" fmla="*/ 161155 h 6469024"/>
              <a:gd name="connsiteX2" fmla="*/ 8936706 w 9020946"/>
              <a:gd name="connsiteY2" fmla="*/ 1984322 h 6469024"/>
              <a:gd name="connsiteX3" fmla="*/ 9020946 w 9020946"/>
              <a:gd name="connsiteY3" fmla="*/ 2056378 h 6469024"/>
              <a:gd name="connsiteX4" fmla="*/ 9020946 w 9020946"/>
              <a:gd name="connsiteY4" fmla="*/ 6469024 h 6469024"/>
              <a:gd name="connsiteX5" fmla="*/ 56808 w 9020946"/>
              <a:gd name="connsiteY5" fmla="*/ 6469024 h 6469024"/>
              <a:gd name="connsiteX6" fmla="*/ 31222 w 9020946"/>
              <a:gd name="connsiteY6" fmla="*/ 6170845 h 6469024"/>
              <a:gd name="connsiteX7" fmla="*/ 1 w 9020946"/>
              <a:gd name="connsiteY7" fmla="*/ 5252589 h 6469024"/>
              <a:gd name="connsiteX8" fmla="*/ 126073 w 9020946"/>
              <a:gd name="connsiteY8" fmla="*/ 3415976 h 6469024"/>
              <a:gd name="connsiteX9" fmla="*/ 954371 w 9020946"/>
              <a:gd name="connsiteY9" fmla="*/ 1984322 h 6469024"/>
              <a:gd name="connsiteX10" fmla="*/ 4119822 w 9020946"/>
              <a:gd name="connsiteY10" fmla="*/ 161155 h 6469024"/>
              <a:gd name="connsiteX11" fmla="*/ 4945505 w 9020946"/>
              <a:gd name="connsiteY11" fmla="*/ 0 h 64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20946" h="6469024">
                <a:moveTo>
                  <a:pt x="4945505" y="0"/>
                </a:moveTo>
                <a:cubicBezTo>
                  <a:pt x="5226075" y="0"/>
                  <a:pt x="5506646" y="53719"/>
                  <a:pt x="5771187" y="161155"/>
                </a:cubicBezTo>
                <a:cubicBezTo>
                  <a:pt x="6912831" y="624859"/>
                  <a:pt x="7976495" y="1241364"/>
                  <a:pt x="8936706" y="1984322"/>
                </a:cubicBezTo>
                <a:lnTo>
                  <a:pt x="9020946" y="2056378"/>
                </a:lnTo>
                <a:lnTo>
                  <a:pt x="9020946" y="6469024"/>
                </a:lnTo>
                <a:lnTo>
                  <a:pt x="56808" y="6469024"/>
                </a:lnTo>
                <a:lnTo>
                  <a:pt x="31222" y="6170845"/>
                </a:lnTo>
                <a:cubicBezTo>
                  <a:pt x="10258" y="5864562"/>
                  <a:pt x="-101" y="5558295"/>
                  <a:pt x="1" y="5252589"/>
                </a:cubicBezTo>
                <a:cubicBezTo>
                  <a:pt x="-203" y="4641109"/>
                  <a:pt x="41436" y="4027524"/>
                  <a:pt x="126073" y="3415976"/>
                </a:cubicBezTo>
                <a:cubicBezTo>
                  <a:pt x="204460" y="2849318"/>
                  <a:pt x="501911" y="2334409"/>
                  <a:pt x="954371" y="1984322"/>
                </a:cubicBezTo>
                <a:cubicBezTo>
                  <a:pt x="1914514" y="1241296"/>
                  <a:pt x="2978246" y="624859"/>
                  <a:pt x="4119822" y="161155"/>
                </a:cubicBezTo>
                <a:cubicBezTo>
                  <a:pt x="4384363" y="53719"/>
                  <a:pt x="4664934" y="0"/>
                  <a:pt x="494550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35556AE-0792-4A86-267C-E3B3100CD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96406" y="3172618"/>
            <a:ext cx="728664" cy="728664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84D5D1-C99C-5B24-C5D3-F357B9BD107F}"/>
              </a:ext>
            </a:extLst>
          </p:cNvPr>
          <p:cNvGrpSpPr/>
          <p:nvPr userDrawn="1"/>
        </p:nvGrpSpPr>
        <p:grpSpPr>
          <a:xfrm>
            <a:off x="574676" y="574676"/>
            <a:ext cx="2832100" cy="836100"/>
            <a:chOff x="574675" y="574675"/>
            <a:chExt cx="2957513" cy="873125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B90F13-BFED-F42E-3160-DAEFE8AA9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74675" y="574675"/>
              <a:ext cx="993800" cy="873125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675DEB7F-BF68-12E8-DF53-84EEBC7FB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71624" y="574675"/>
              <a:ext cx="1760564" cy="873125"/>
            </a:xfrm>
            <a:prstGeom prst="rect">
              <a:avLst/>
            </a:prstGeom>
          </p:spPr>
        </p:pic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0058CDAE-DA68-3DB6-CDA5-02E4FEC40E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5302" y="3040381"/>
            <a:ext cx="7335836" cy="1907346"/>
          </a:xfrm>
        </p:spPr>
        <p:txBody>
          <a:bodyPr anchor="t"/>
          <a:lstStyle>
            <a:lvl1pPr>
              <a:defRPr lang="en-GB" sz="7200" kern="1200" spc="-2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60A38F1-BA27-DF99-2E3E-4EE003EA0E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5301" y="5086350"/>
            <a:ext cx="5448300" cy="1196975"/>
          </a:xfrm>
        </p:spPr>
        <p:txBody>
          <a:bodyPr/>
          <a:lstStyle>
            <a:lvl1pPr>
              <a:defRPr lang="en-US" sz="24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400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400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400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2400" kern="1200" cap="all" spc="-2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This is a subtitle</a:t>
            </a:r>
          </a:p>
        </p:txBody>
      </p:sp>
    </p:spTree>
    <p:extLst>
      <p:ext uri="{BB962C8B-B14F-4D97-AF65-F5344CB8AC3E}">
        <p14:creationId xmlns:p14="http://schemas.microsoft.com/office/powerpoint/2010/main" val="2210797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4A8E668-3EA9-2ABD-8441-36F2D4ACAF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0272" y="1501775"/>
            <a:ext cx="4494528" cy="747897"/>
          </a:xfrm>
        </p:spPr>
        <p:txBody>
          <a:bodyPr/>
          <a:lstStyle>
            <a:lvl1pPr>
              <a:defRPr sz="5400" b="1">
                <a:solidFill>
                  <a:schemeClr val="bg2"/>
                </a:solidFill>
              </a:defRPr>
            </a:lvl1pPr>
          </a:lstStyle>
          <a:p>
            <a:r>
              <a:rPr lang="en-US" dirty="0" err="1"/>
              <a:t>Sommaire</a:t>
            </a:r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73B73FCA-B8D0-1803-3321-47FB1580E5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0271" y="2709144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C24E9320-DC19-61E8-605A-32F867F256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47800" y="2763923"/>
            <a:ext cx="3561010" cy="276999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Lorem Ipsum dolor</a:t>
            </a:r>
            <a:endParaRPr lang="fr-FR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FA21F19-0699-916D-76B5-D8D5CFE75E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66419" y="2763923"/>
            <a:ext cx="620043" cy="276999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01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61D3AB77-4E69-3B26-1904-E9C3C29A8EF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0271" y="3259213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075C46A-5FF1-6971-B941-4DCAF33C3F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47800" y="3313992"/>
            <a:ext cx="3561010" cy="276999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Lorem Ipsum dolor</a:t>
            </a:r>
            <a:endParaRPr lang="fr-FR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DC69141-017F-54CB-6745-EF0FA65207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66419" y="3313992"/>
            <a:ext cx="620043" cy="276999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01</a:t>
            </a:r>
            <a:endParaRPr lang="fr-FR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B7314D0-B424-CD63-4B8A-B0A353CE2B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0271" y="3809282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4427665-7EA5-1931-C168-6F9EADD64C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47800" y="3864061"/>
            <a:ext cx="3561010" cy="276999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Lorem Ipsum dolor</a:t>
            </a:r>
            <a:endParaRPr lang="fr-FR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000BC19-DB50-E677-7355-D7CD4C78356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6419" y="3864061"/>
            <a:ext cx="620043" cy="276999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01</a:t>
            </a:r>
            <a:endParaRPr lang="fr-FR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7E3DB5D-9972-95BF-8E26-B41F2DD80B1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0271" y="4359351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20FE6B7-05BF-A511-A0CC-06B5A4776B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7800" y="4414130"/>
            <a:ext cx="3561010" cy="276999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Lorem Ipsum dolor</a:t>
            </a:r>
            <a:endParaRPr lang="fr-FR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EB2FB84-7627-2484-7150-6E9A9BA9143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66419" y="4414130"/>
            <a:ext cx="620043" cy="276999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01</a:t>
            </a:r>
            <a:endParaRPr lang="fr-FR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96DDA1FC-B4C7-ACA8-6757-196599F8FE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0271" y="4909419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F9843044-F090-699F-98AE-9CDDABBFF6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47800" y="4964198"/>
            <a:ext cx="3561010" cy="276999"/>
          </a:xfrm>
        </p:spPr>
        <p:txBody>
          <a:bodyPr anchor="t"/>
          <a:lstStyle>
            <a:lvl1pPr>
              <a:lnSpc>
                <a:spcPct val="10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>
              <a:spcAft>
                <a:spcPts val="0"/>
              </a:spcAft>
              <a:defRPr sz="20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Lorem Ipsum dolor</a:t>
            </a:r>
            <a:endParaRPr lang="fr-FR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D052443-8F73-B181-4555-CADF915EF9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66419" y="4964198"/>
            <a:ext cx="620043" cy="276999"/>
          </a:xfrm>
        </p:spPr>
        <p:txBody>
          <a:bodyPr anchor="ctr"/>
          <a:lstStyle>
            <a:lvl1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01</a:t>
            </a:r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BB62A75-BE87-4F6F-2FC2-1811BCF0B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0565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D3A77740-3A3D-F791-854D-0F4814163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83911" y="531196"/>
            <a:ext cx="738804" cy="738804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9C643844-DA3F-41F5-7AB6-D88131492F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294" y="589580"/>
            <a:ext cx="622038" cy="62203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endParaRPr lang="fr-F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4017B8-F748-6085-9C91-50486A2CA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911" y="1511011"/>
            <a:ext cx="5402552" cy="4365625"/>
          </a:xfrm>
        </p:spPr>
        <p:txBody>
          <a:bodyPr anchor="t"/>
          <a:lstStyle>
            <a:lvl1pPr>
              <a:defRPr sz="3600" b="0">
                <a:solidFill>
                  <a:schemeClr val="accent3"/>
                </a:solidFill>
                <a:latin typeface="Marianne" panose="02000000000000000000" pitchFamily="2" charset="0"/>
              </a:defRPr>
            </a:lvl1pPr>
          </a:lstStyle>
          <a:p>
            <a:r>
              <a:rPr lang="en-US" dirty="0"/>
              <a:t>Lorem ipsum dolor sit amet, consectetuer adipiscing elit. Maecenas porttitor congue massa. Fusce posuere, magna sed pulvinar </a:t>
            </a:r>
            <a:r>
              <a:rPr lang="en-US" dirty="0" err="1"/>
              <a:t>ultricies</a:t>
            </a:r>
            <a:endParaRPr lang="fr-FR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E95B0267-835E-C716-5BD8-2F5CF3E18F7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990020" y="3"/>
            <a:ext cx="5201978" cy="5281610"/>
          </a:xfrm>
          <a:custGeom>
            <a:avLst/>
            <a:gdLst>
              <a:gd name="connsiteX0" fmla="*/ 1100062 w 5689601"/>
              <a:gd name="connsiteY0" fmla="*/ 0 h 5776697"/>
              <a:gd name="connsiteX1" fmla="*/ 5689601 w 5689601"/>
              <a:gd name="connsiteY1" fmla="*/ 0 h 5776697"/>
              <a:gd name="connsiteX2" fmla="*/ 5689601 w 5689601"/>
              <a:gd name="connsiteY2" fmla="*/ 5302880 h 5776697"/>
              <a:gd name="connsiteX3" fmla="*/ 5657913 w 5689601"/>
              <a:gd name="connsiteY3" fmla="*/ 5333342 h 5776697"/>
              <a:gd name="connsiteX4" fmla="*/ 4874183 w 5689601"/>
              <a:gd name="connsiteY4" fmla="*/ 5690117 h 5776697"/>
              <a:gd name="connsiteX5" fmla="*/ 3926902 w 5689601"/>
              <a:gd name="connsiteY5" fmla="*/ 5771331 h 5776697"/>
              <a:gd name="connsiteX6" fmla="*/ 3611417 w 5689601"/>
              <a:gd name="connsiteY6" fmla="*/ 5776697 h 5776697"/>
              <a:gd name="connsiteX7" fmla="*/ 3611356 w 5689601"/>
              <a:gd name="connsiteY7" fmla="*/ 5776697 h 5776697"/>
              <a:gd name="connsiteX8" fmla="*/ 3295871 w 5689601"/>
              <a:gd name="connsiteY8" fmla="*/ 5771419 h 5776697"/>
              <a:gd name="connsiteX9" fmla="*/ 2348589 w 5689601"/>
              <a:gd name="connsiteY9" fmla="*/ 5690117 h 5776697"/>
              <a:gd name="connsiteX10" fmla="*/ 1364359 w 5689601"/>
              <a:gd name="connsiteY10" fmla="*/ 5120748 h 5776697"/>
              <a:gd name="connsiteX11" fmla="*/ 110815 w 5689601"/>
              <a:gd name="connsiteY11" fmla="*/ 2944756 h 5776697"/>
              <a:gd name="connsiteX12" fmla="*/ 110815 w 5689601"/>
              <a:gd name="connsiteY12" fmla="*/ 1809627 h 5776697"/>
              <a:gd name="connsiteX13" fmla="*/ 997815 w 5689601"/>
              <a:gd name="connsiteY13" fmla="*/ 141732 h 5776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9601" h="5776697">
                <a:moveTo>
                  <a:pt x="1100062" y="0"/>
                </a:moveTo>
                <a:lnTo>
                  <a:pt x="5689601" y="0"/>
                </a:lnTo>
                <a:lnTo>
                  <a:pt x="5689601" y="5302880"/>
                </a:lnTo>
                <a:lnTo>
                  <a:pt x="5657913" y="5333342"/>
                </a:lnTo>
                <a:cubicBezTo>
                  <a:pt x="5438577" y="5524570"/>
                  <a:pt x="5166395" y="5649649"/>
                  <a:pt x="4874183" y="5690117"/>
                </a:cubicBezTo>
                <a:cubicBezTo>
                  <a:pt x="4558797" y="5733642"/>
                  <a:pt x="4242618" y="5760581"/>
                  <a:pt x="3926902" y="5771331"/>
                </a:cubicBezTo>
                <a:lnTo>
                  <a:pt x="3611417" y="5776697"/>
                </a:lnTo>
                <a:lnTo>
                  <a:pt x="3611356" y="5776697"/>
                </a:lnTo>
                <a:lnTo>
                  <a:pt x="3295871" y="5771419"/>
                </a:lnTo>
                <a:cubicBezTo>
                  <a:pt x="2980154" y="5760728"/>
                  <a:pt x="2663975" y="5733760"/>
                  <a:pt x="2348589" y="5690117"/>
                </a:cubicBezTo>
                <a:cubicBezTo>
                  <a:pt x="1959131" y="5636160"/>
                  <a:pt x="1605123" y="5431783"/>
                  <a:pt x="1364359" y="5120748"/>
                </a:cubicBezTo>
                <a:cubicBezTo>
                  <a:pt x="853499" y="4460720"/>
                  <a:pt x="429691" y="3729481"/>
                  <a:pt x="110815" y="2944756"/>
                </a:cubicBezTo>
                <a:cubicBezTo>
                  <a:pt x="-36938" y="2581019"/>
                  <a:pt x="-36938" y="2173364"/>
                  <a:pt x="110815" y="1809627"/>
                </a:cubicBezTo>
                <a:cubicBezTo>
                  <a:pt x="349972" y="1221083"/>
                  <a:pt x="648153" y="662626"/>
                  <a:pt x="997815" y="14173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endParaRPr lang="fr-FR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C8B667-C46E-5F72-7D2C-2A05B071C1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2020717" cy="225452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Titre de la diapositiv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9422D26-090A-1AF3-2EA9-841625610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2476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85CD11-F9AA-5B7D-D43C-D50CEA1EC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0" y="0"/>
            <a:ext cx="6974516" cy="5407050"/>
          </a:xfrm>
          <a:custGeom>
            <a:avLst/>
            <a:gdLst>
              <a:gd name="connsiteX0" fmla="*/ 0 w 6974516"/>
              <a:gd name="connsiteY0" fmla="*/ 0 h 5407050"/>
              <a:gd name="connsiteX1" fmla="*/ 6972485 w 6974516"/>
              <a:gd name="connsiteY1" fmla="*/ 0 h 5407050"/>
              <a:gd name="connsiteX2" fmla="*/ 6974516 w 6974516"/>
              <a:gd name="connsiteY2" fmla="*/ 415321 h 5407050"/>
              <a:gd name="connsiteX3" fmla="*/ 6832570 w 6974516"/>
              <a:gd name="connsiteY3" fmla="*/ 2179000 h 5407050"/>
              <a:gd name="connsiteX4" fmla="*/ 6021251 w 6974516"/>
              <a:gd name="connsiteY4" fmla="*/ 3545492 h 5407050"/>
              <a:gd name="connsiteX5" fmla="*/ 2962407 w 6974516"/>
              <a:gd name="connsiteY5" fmla="*/ 5261450 h 5407050"/>
              <a:gd name="connsiteX6" fmla="*/ 1377598 w 6974516"/>
              <a:gd name="connsiteY6" fmla="*/ 5242584 h 5407050"/>
              <a:gd name="connsiteX7" fmla="*/ 184590 w 6974516"/>
              <a:gd name="connsiteY7" fmla="*/ 4666290 h 5407050"/>
              <a:gd name="connsiteX8" fmla="*/ 0 w 6974516"/>
              <a:gd name="connsiteY8" fmla="*/ 4560918 h 540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74516" h="5407050">
                <a:moveTo>
                  <a:pt x="0" y="0"/>
                </a:moveTo>
                <a:lnTo>
                  <a:pt x="6972485" y="0"/>
                </a:lnTo>
                <a:lnTo>
                  <a:pt x="6974516" y="415321"/>
                </a:lnTo>
                <a:cubicBezTo>
                  <a:pt x="6967656" y="1002978"/>
                  <a:pt x="6920744" y="1592249"/>
                  <a:pt x="6832570" y="2179000"/>
                </a:cubicBezTo>
                <a:cubicBezTo>
                  <a:pt x="6750753" y="2722772"/>
                  <a:pt x="6459497" y="3214184"/>
                  <a:pt x="6021251" y="3545492"/>
                </a:cubicBezTo>
                <a:cubicBezTo>
                  <a:pt x="5091189" y="4248460"/>
                  <a:pt x="4063369" y="4828854"/>
                  <a:pt x="2962407" y="5261450"/>
                </a:cubicBezTo>
                <a:cubicBezTo>
                  <a:pt x="2452128" y="5461909"/>
                  <a:pt x="1882832" y="5455150"/>
                  <a:pt x="1377598" y="5242584"/>
                </a:cubicBezTo>
                <a:cubicBezTo>
                  <a:pt x="968747" y="5070563"/>
                  <a:pt x="570651" y="4878012"/>
                  <a:pt x="184590" y="4666290"/>
                </a:cubicBezTo>
                <a:lnTo>
                  <a:pt x="0" y="4560918"/>
                </a:lnTo>
                <a:close/>
              </a:path>
            </a:pathLst>
          </a:cu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en-US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50C3C129-1DBF-54BB-5B1D-4D0ADC287E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56325" y="2519363"/>
            <a:ext cx="790575" cy="79057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 b="1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CB2426F-BABB-B082-919A-CF2EE54BD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1612" y="3548064"/>
            <a:ext cx="5089526" cy="2281237"/>
          </a:xfrm>
        </p:spPr>
        <p:txBody>
          <a:bodyPr anchor="t"/>
          <a:lstStyle>
            <a:lvl1pPr>
              <a:defRPr sz="5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Footer Placeholder 1" descr="Titre de la diapositive">
            <a:extLst>
              <a:ext uri="{FF2B5EF4-FFF2-40B4-BE49-F238E27FC236}">
                <a16:creationId xmlns:a16="http://schemas.microsoft.com/office/drawing/2014/main" id="{F014E34C-A7F7-2899-9C17-0782917349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04C8B7C-2023-3632-73B3-6E74EE866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7609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AEA98C1-F017-CDD4-C336-F3024D4EB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3275" y="673360"/>
            <a:ext cx="5505452" cy="5511280"/>
          </a:xfrm>
          <a:custGeom>
            <a:avLst/>
            <a:gdLst>
              <a:gd name="connsiteX0" fmla="*/ 2868615 w 5505452"/>
              <a:gd name="connsiteY0" fmla="*/ 391 h 5511280"/>
              <a:gd name="connsiteX1" fmla="*/ 4341041 w 5505452"/>
              <a:gd name="connsiteY1" fmla="*/ 125478 h 5511280"/>
              <a:gd name="connsiteX2" fmla="*/ 5069657 w 5505452"/>
              <a:gd name="connsiteY2" fmla="*/ 485674 h 5511280"/>
              <a:gd name="connsiteX3" fmla="*/ 5391470 w 5505452"/>
              <a:gd name="connsiteY3" fmla="*/ 4289597 h 5511280"/>
              <a:gd name="connsiteX4" fmla="*/ 4632566 w 5505452"/>
              <a:gd name="connsiteY4" fmla="*/ 5306082 h 5511280"/>
              <a:gd name="connsiteX5" fmla="*/ 4631521 w 5505452"/>
              <a:gd name="connsiteY5" fmla="*/ 5306474 h 5511280"/>
              <a:gd name="connsiteX6" fmla="*/ 4631652 w 5505452"/>
              <a:gd name="connsiteY6" fmla="*/ 5306606 h 5511280"/>
              <a:gd name="connsiteX7" fmla="*/ 4129545 w 5505452"/>
              <a:gd name="connsiteY7" fmla="*/ 5422014 h 5511280"/>
              <a:gd name="connsiteX8" fmla="*/ 1367042 w 5505452"/>
              <a:gd name="connsiteY8" fmla="*/ 5420578 h 5511280"/>
              <a:gd name="connsiteX9" fmla="*/ 434503 w 5505452"/>
              <a:gd name="connsiteY9" fmla="*/ 5024088 h 5511280"/>
              <a:gd name="connsiteX10" fmla="*/ 91409 w 5505452"/>
              <a:gd name="connsiteY10" fmla="*/ 4142594 h 5511280"/>
              <a:gd name="connsiteX11" fmla="*/ 234364 w 5505452"/>
              <a:gd name="connsiteY11" fmla="*/ 802787 h 5511280"/>
              <a:gd name="connsiteX12" fmla="*/ 1392762 w 5505452"/>
              <a:gd name="connsiteY12" fmla="*/ 87878 h 5511280"/>
              <a:gd name="connsiteX13" fmla="*/ 2868615 w 5505452"/>
              <a:gd name="connsiteY13" fmla="*/ 391 h 55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05452" h="5511280">
                <a:moveTo>
                  <a:pt x="2868615" y="391"/>
                </a:moveTo>
                <a:cubicBezTo>
                  <a:pt x="3361469" y="4683"/>
                  <a:pt x="3853752" y="44404"/>
                  <a:pt x="4341041" y="125478"/>
                </a:cubicBezTo>
                <a:cubicBezTo>
                  <a:pt x="4610241" y="178351"/>
                  <a:pt x="4882836" y="282272"/>
                  <a:pt x="5069657" y="485674"/>
                </a:cubicBezTo>
                <a:cubicBezTo>
                  <a:pt x="5649705" y="1048487"/>
                  <a:pt x="5529595" y="3486435"/>
                  <a:pt x="5391470" y="4289597"/>
                </a:cubicBezTo>
                <a:cubicBezTo>
                  <a:pt x="5317316" y="4752277"/>
                  <a:pt x="5096290" y="5148636"/>
                  <a:pt x="4632566" y="5306082"/>
                </a:cubicBezTo>
                <a:lnTo>
                  <a:pt x="4631521" y="5306474"/>
                </a:lnTo>
                <a:lnTo>
                  <a:pt x="4631652" y="5306606"/>
                </a:lnTo>
                <a:cubicBezTo>
                  <a:pt x="4471332" y="5365615"/>
                  <a:pt x="4299655" y="5398254"/>
                  <a:pt x="4129545" y="5422014"/>
                </a:cubicBezTo>
                <a:cubicBezTo>
                  <a:pt x="3211496" y="5541340"/>
                  <a:pt x="2285092" y="5541209"/>
                  <a:pt x="1367042" y="5420578"/>
                </a:cubicBezTo>
                <a:cubicBezTo>
                  <a:pt x="1030085" y="5374494"/>
                  <a:pt x="670150" y="5281930"/>
                  <a:pt x="434503" y="5024088"/>
                </a:cubicBezTo>
                <a:cubicBezTo>
                  <a:pt x="215956" y="4788962"/>
                  <a:pt x="134361" y="4455530"/>
                  <a:pt x="91409" y="4142594"/>
                </a:cubicBezTo>
                <a:cubicBezTo>
                  <a:pt x="-25959" y="3206791"/>
                  <a:pt x="-77658" y="1685325"/>
                  <a:pt x="234364" y="802787"/>
                </a:cubicBezTo>
                <a:cubicBezTo>
                  <a:pt x="426016" y="318044"/>
                  <a:pt x="910628" y="142841"/>
                  <a:pt x="1392762" y="87878"/>
                </a:cubicBezTo>
                <a:cubicBezTo>
                  <a:pt x="1882336" y="27237"/>
                  <a:pt x="2375761" y="-3900"/>
                  <a:pt x="2868615" y="39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>
              <a:defRPr sz="2400">
                <a:solidFill>
                  <a:schemeClr val="tx2">
                    <a:alpha val="0"/>
                  </a:schemeClr>
                </a:solidFill>
                <a:latin typeface="Marianne" panose="02000000000000000000" pitchFamily="2" charset="0"/>
              </a:defRPr>
            </a:lvl1pPr>
            <a:lvl2pPr>
              <a:defRPr sz="2400">
                <a:latin typeface="Marianne" panose="02000000000000000000" pitchFamily="2" charset="0"/>
              </a:defRPr>
            </a:lvl2pPr>
            <a:lvl3pPr>
              <a:defRPr sz="2400">
                <a:latin typeface="Marianne" panose="02000000000000000000" pitchFamily="2" charset="0"/>
              </a:defRPr>
            </a:lvl3pPr>
            <a:lvl4pPr>
              <a:defRPr sz="2400">
                <a:latin typeface="Marianne" panose="02000000000000000000" pitchFamily="2" charset="0"/>
              </a:defRPr>
            </a:lvl4pPr>
            <a:lvl5pPr>
              <a:defRPr sz="2400">
                <a:latin typeface="Marianne" panose="02000000000000000000" pitchFamily="2" charset="0"/>
              </a:defRPr>
            </a:lvl5pPr>
            <a:lvl6pPr>
              <a:defRPr sz="2400">
                <a:latin typeface="Marianne" panose="02000000000000000000" pitchFamily="2" charset="0"/>
              </a:defRPr>
            </a:lvl6pPr>
            <a:lvl7pPr>
              <a:defRPr sz="2400">
                <a:latin typeface="Marianne" panose="02000000000000000000" pitchFamily="2" charset="0"/>
              </a:defRPr>
            </a:lvl7pPr>
            <a:lvl8pPr>
              <a:defRPr sz="2400">
                <a:latin typeface="Marianne" panose="02000000000000000000" pitchFamily="2" charset="0"/>
              </a:defRPr>
            </a:lvl8pPr>
            <a:lvl9pPr>
              <a:defRPr sz="2400">
                <a:latin typeface="Marianne" panose="02000000000000000000" pitchFamily="2" charset="0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5A12D32-406D-F3AB-AD94-169529A183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709862" y="1778000"/>
            <a:ext cx="1266825" cy="126682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A0F4720-58FA-D1BB-C331-2B3C62F8E51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914650" y="1982789"/>
            <a:ext cx="857250" cy="857248"/>
          </a:xfrm>
          <a:prstGeom prst="ellipse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endParaRPr lang="fr-FR" dirty="0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955989C5-9DD3-061F-1AAD-6F43BED0E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807" y="1514474"/>
            <a:ext cx="2605249" cy="1816100"/>
          </a:xfrm>
        </p:spPr>
        <p:txBody>
          <a:bodyPr/>
          <a:lstStyle>
            <a:lvl1pPr>
              <a:defRPr lang="fr-FR" sz="2400" b="0" kern="1200" spc="-20" dirty="0">
                <a:solidFill>
                  <a:schemeClr val="tx2"/>
                </a:solidFill>
                <a:latin typeface="Marianne" panose="02000000000000000000" pitchFamily="2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</a:pPr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FB85189-C4B3-9D34-441D-0C6A1BBA4AE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9696" y="3565033"/>
            <a:ext cx="3549811" cy="1633909"/>
          </a:xfrm>
        </p:spPr>
        <p:txBody>
          <a:bodyPr anchor="ctr"/>
          <a:lstStyle>
            <a:lvl1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1pPr>
            <a:lvl2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2pPr>
            <a:lvl3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3pPr>
            <a:lvl4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4pPr>
            <a:lvl5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5pPr>
            <a:lvl6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6pPr>
            <a:lvl7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7pPr>
            <a:lvl8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8pPr>
            <a:lvl9pPr>
              <a:defRPr sz="13200">
                <a:solidFill>
                  <a:schemeClr val="bg2"/>
                </a:solidFill>
                <a:latin typeface="Marianne Medium" panose="02000000000000000000" pitchFamily="2" charset="0"/>
              </a:defRPr>
            </a:lvl9pPr>
          </a:lstStyle>
          <a:p>
            <a:pPr lvl="0"/>
            <a:r>
              <a:rPr lang="en-US" dirty="0"/>
              <a:t>123</a:t>
            </a:r>
            <a:endParaRPr lang="fr-FR" dirty="0"/>
          </a:p>
        </p:txBody>
      </p:sp>
      <p:sp>
        <p:nvSpPr>
          <p:cNvPr id="3" name="Footer Placeholder 1" descr="Titre de la diapositive">
            <a:extLst>
              <a:ext uri="{FF2B5EF4-FFF2-40B4-BE49-F238E27FC236}">
                <a16:creationId xmlns:a16="http://schemas.microsoft.com/office/drawing/2014/main" id="{93A238B5-8853-6992-74B6-115B8C021F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1125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+Char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4833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0B8556-D223-3D8F-787C-2571FE181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845" y="1279232"/>
            <a:ext cx="4697186" cy="1325563"/>
          </a:xfrm>
        </p:spPr>
        <p:txBody>
          <a:bodyPr anchor="ctr"/>
          <a:lstStyle>
            <a:lvl1pPr>
              <a:defRPr lang="fr-FR" sz="5400" kern="1200" spc="-2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Marianne" panose="02000000000000000000" pitchFamily="2" charset="0"/>
              <a:buNone/>
            </a:pPr>
            <a:r>
              <a:rPr lang="en-US" dirty="0"/>
              <a:t>Click to edit</a:t>
            </a:r>
            <a:endParaRPr lang="fr-FR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F1A2DC-F24C-C692-E909-64EAACD1B2E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525" y="2768599"/>
            <a:ext cx="4695825" cy="25130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FEB89C-3196-997C-32D8-873CDD991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49" y="1589088"/>
            <a:ext cx="2448599" cy="712787"/>
          </a:xfrm>
        </p:spPr>
        <p:txBody>
          <a:bodyPr anchor="ctr"/>
          <a:lstStyle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>
              <a:defRPr sz="1400">
                <a:solidFill>
                  <a:schemeClr val="bg1">
                    <a:lumMod val="75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defRPr sz="1100">
                <a:solidFill>
                  <a:schemeClr val="bg1">
                    <a:lumMod val="75000"/>
                  </a:schemeClr>
                </a:solidFill>
              </a:defRPr>
            </a:lvl4pPr>
            <a:lvl5pPr>
              <a:defRPr sz="11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err="1"/>
              <a:t>Légende</a:t>
            </a:r>
            <a:endParaRPr lang="fr-FR" dirty="0"/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id="{0CC9EDCF-AD58-FDCC-321C-17C24484F42C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03949" y="2501900"/>
            <a:ext cx="5437188" cy="2779713"/>
          </a:xfrm>
        </p:spPr>
        <p:txBody>
          <a:bodyPr anchor="ctr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7DD9531-BEB9-A091-6FE5-BE1B6AD609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6669" y="1503362"/>
            <a:ext cx="0" cy="1800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D33963E-9E4F-B88A-245F-9EDDDDE104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9538" y="1503363"/>
            <a:ext cx="2294611" cy="1316038"/>
          </a:xfrm>
        </p:spPr>
        <p:txBody>
          <a:bodyPr anchor="t"/>
          <a:lstStyle>
            <a:lvl1pPr>
              <a:defRPr sz="4800">
                <a:latin typeface="Marianne Medium" panose="02000000000000000000" pitchFamily="2" charset="0"/>
              </a:defRPr>
            </a:lvl1pPr>
            <a:lvl2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2pPr>
            <a:lvl3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3pPr>
            <a:lvl4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4pPr>
            <a:lvl5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5pPr>
            <a:lvl6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6pPr>
            <a:lvl7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7pPr>
            <a:lvl8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8pPr>
            <a:lvl9pPr>
              <a:defRPr sz="1200">
                <a:solidFill>
                  <a:schemeClr val="bg2"/>
                </a:solidFill>
                <a:latin typeface="Marianne Medium" panose="02000000000000000000" pitchFamily="2" charset="0"/>
              </a:defRPr>
            </a:lvl9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Footer Placeholder 1" descr="Titre de la diapositive">
            <a:extLst>
              <a:ext uri="{FF2B5EF4-FFF2-40B4-BE49-F238E27FC236}">
                <a16:creationId xmlns:a16="http://schemas.microsoft.com/office/drawing/2014/main" id="{5C269AD7-3664-F69A-3EC2-0A7C601959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4325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+Char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B183AF7-879A-2AFA-21DC-289DBC689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845" y="380072"/>
            <a:ext cx="4697186" cy="1325563"/>
          </a:xfrm>
        </p:spPr>
        <p:txBody>
          <a:bodyPr anchor="ctr"/>
          <a:lstStyle>
            <a:lvl1pPr>
              <a:defRPr lang="fr-FR" sz="5400" kern="1200" spc="-2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Marianne" panose="02000000000000000000" pitchFamily="2" charset="0"/>
              <a:buNone/>
            </a:pPr>
            <a:r>
              <a:rPr lang="en-US" dirty="0"/>
              <a:t>Click to edit</a:t>
            </a:r>
            <a:endParaRPr lang="fr-FR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D706AA7-5A5B-17DB-0FE9-28DF9E7E86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2pPr>
              <a:defRPr lang="en-US" sz="2400" kern="1200" spc="-2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3875C6-8834-F3EC-0C6F-03493468ACBC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203950" y="0"/>
            <a:ext cx="5988048" cy="5816599"/>
          </a:xfrm>
          <a:custGeom>
            <a:avLst/>
            <a:gdLst>
              <a:gd name="connsiteX0" fmla="*/ 977798 w 5988048"/>
              <a:gd name="connsiteY0" fmla="*/ 0 h 5816599"/>
              <a:gd name="connsiteX1" fmla="*/ 5988048 w 5988048"/>
              <a:gd name="connsiteY1" fmla="*/ 0 h 5816599"/>
              <a:gd name="connsiteX2" fmla="*/ 5988048 w 5988048"/>
              <a:gd name="connsiteY2" fmla="*/ 5317928 h 5816599"/>
              <a:gd name="connsiteX3" fmla="*/ 5954698 w 5988048"/>
              <a:gd name="connsiteY3" fmla="*/ 5349988 h 5816599"/>
              <a:gd name="connsiteX4" fmla="*/ 5129858 w 5988048"/>
              <a:gd name="connsiteY4" fmla="*/ 5725478 h 5816599"/>
              <a:gd name="connsiteX5" fmla="*/ 4132887 w 5988048"/>
              <a:gd name="connsiteY5" fmla="*/ 5810952 h 5816599"/>
              <a:gd name="connsiteX6" fmla="*/ 3800853 w 5988048"/>
              <a:gd name="connsiteY6" fmla="*/ 5816599 h 5816599"/>
              <a:gd name="connsiteX7" fmla="*/ 3800789 w 5988048"/>
              <a:gd name="connsiteY7" fmla="*/ 5816599 h 5816599"/>
              <a:gd name="connsiteX8" fmla="*/ 3468755 w 5988048"/>
              <a:gd name="connsiteY8" fmla="*/ 5811044 h 5816599"/>
              <a:gd name="connsiteX9" fmla="*/ 2471784 w 5988048"/>
              <a:gd name="connsiteY9" fmla="*/ 5725478 h 5816599"/>
              <a:gd name="connsiteX10" fmla="*/ 1435926 w 5988048"/>
              <a:gd name="connsiteY10" fmla="*/ 5126243 h 5816599"/>
              <a:gd name="connsiteX11" fmla="*/ 116628 w 5988048"/>
              <a:gd name="connsiteY11" fmla="*/ 2836109 h 5816599"/>
              <a:gd name="connsiteX12" fmla="*/ 116628 w 5988048"/>
              <a:gd name="connsiteY12" fmla="*/ 1641437 h 5816599"/>
              <a:gd name="connsiteX13" fmla="*/ 784436 w 5988048"/>
              <a:gd name="connsiteY13" fmla="*/ 304505 h 5816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88048" h="5816599">
                <a:moveTo>
                  <a:pt x="977798" y="0"/>
                </a:moveTo>
                <a:lnTo>
                  <a:pt x="5988048" y="0"/>
                </a:lnTo>
                <a:lnTo>
                  <a:pt x="5988048" y="5317928"/>
                </a:lnTo>
                <a:lnTo>
                  <a:pt x="5954698" y="5349988"/>
                </a:lnTo>
                <a:cubicBezTo>
                  <a:pt x="5723856" y="5551247"/>
                  <a:pt x="5437398" y="5682887"/>
                  <a:pt x="5129858" y="5725478"/>
                </a:cubicBezTo>
                <a:cubicBezTo>
                  <a:pt x="4797928" y="5771286"/>
                  <a:pt x="4465164" y="5799638"/>
                  <a:pt x="4132887" y="5810952"/>
                </a:cubicBezTo>
                <a:lnTo>
                  <a:pt x="3800853" y="5816599"/>
                </a:lnTo>
                <a:lnTo>
                  <a:pt x="3800789" y="5816599"/>
                </a:lnTo>
                <a:lnTo>
                  <a:pt x="3468755" y="5811044"/>
                </a:lnTo>
                <a:cubicBezTo>
                  <a:pt x="3136478" y="5799793"/>
                  <a:pt x="2803713" y="5771410"/>
                  <a:pt x="2471784" y="5725478"/>
                </a:cubicBezTo>
                <a:cubicBezTo>
                  <a:pt x="2061897" y="5668690"/>
                  <a:pt x="1689320" y="5453593"/>
                  <a:pt x="1435926" y="5126243"/>
                </a:cubicBezTo>
                <a:cubicBezTo>
                  <a:pt x="898269" y="4431593"/>
                  <a:pt x="452231" y="3661997"/>
                  <a:pt x="116628" y="2836109"/>
                </a:cubicBezTo>
                <a:cubicBezTo>
                  <a:pt x="-38876" y="2453292"/>
                  <a:pt x="-38876" y="2024254"/>
                  <a:pt x="116628" y="1641437"/>
                </a:cubicBezTo>
                <a:cubicBezTo>
                  <a:pt x="305404" y="1176875"/>
                  <a:pt x="529124" y="730125"/>
                  <a:pt x="784436" y="30450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endParaRPr lang="fr-FR" dirty="0"/>
          </a:p>
        </p:txBody>
      </p:sp>
      <p:sp>
        <p:nvSpPr>
          <p:cNvPr id="2" name="Footer Placeholder 1" descr="Titre de la diapositive">
            <a:extLst>
              <a:ext uri="{FF2B5EF4-FFF2-40B4-BE49-F238E27FC236}">
                <a16:creationId xmlns:a16="http://schemas.microsoft.com/office/drawing/2014/main" id="{8504B1BE-656C-15EC-C1A8-C1092462569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91FA749-0AB6-BAA9-E7E8-FE1C86D77D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924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>
            <a:extLst>
              <a:ext uri="{FF2B5EF4-FFF2-40B4-BE49-F238E27FC236}">
                <a16:creationId xmlns:a16="http://schemas.microsoft.com/office/drawing/2014/main" id="{34EF12B4-AA43-4053-A66C-946FE68344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7256" y="574675"/>
            <a:ext cx="5079208" cy="1463935"/>
          </a:xfrm>
        </p:spPr>
        <p:txBody>
          <a:bodyPr anchor="t"/>
          <a:lstStyle>
            <a:lvl1pPr>
              <a:defRPr sz="5400" spc="-2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9DF51427-88DB-D49F-5F03-7036FB8CA38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203950" y="574675"/>
            <a:ext cx="5437188" cy="1463935"/>
          </a:xfrm>
        </p:spPr>
        <p:txBody>
          <a:bodyPr anchor="t"/>
          <a:lstStyle>
            <a:lvl1pPr>
              <a:lnSpc>
                <a:spcPct val="90000"/>
              </a:lnSpc>
              <a:spcAft>
                <a:spcPts val="0"/>
              </a:spcAft>
              <a:defRPr sz="2000" b="1">
                <a:solidFill>
                  <a:schemeClr val="bg2"/>
                </a:solidFill>
                <a:latin typeface="+mj-lt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2pPr>
            <a:lvl3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3pPr>
            <a:lvl4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4pPr>
            <a:lvl5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5pPr>
            <a:lvl6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6pPr>
            <a:lvl7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7pPr>
            <a:lvl8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8pPr>
            <a:lvl9pPr>
              <a:lnSpc>
                <a:spcPct val="90000"/>
              </a:lnSpc>
              <a:spcAft>
                <a:spcPts val="0"/>
              </a:spcAft>
              <a:defRPr sz="2000">
                <a:solidFill>
                  <a:schemeClr val="bg2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29BF562-98DD-315E-A97B-ECF8465E73E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39479" y="2420079"/>
            <a:ext cx="3292298" cy="32957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5pPr>
            <a:lvl6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6pPr>
            <a:lvl7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8pPr>
            <a:lvl9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C28AA431-B134-94DB-ED63-488184724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34489" y="2767024"/>
            <a:ext cx="609980" cy="60998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03E6A5B2-F702-AF15-CE11-C2A18E95FB69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82692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`Picto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81EAFF9-5B77-0ACC-8C35-C4C8E87F1C73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614951" y="2420079"/>
            <a:ext cx="3292298" cy="32957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5pPr>
            <a:lvl6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6pPr>
            <a:lvl7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8pPr>
            <a:lvl9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F606C3A-EBE4-E88B-EF63-58F588497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309961" y="2767024"/>
            <a:ext cx="609980" cy="609980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43026DA-1F0C-57E8-84F9-017BDC7BD0ED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8164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`Picto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B27D59E6-1616-CEE7-69D6-36B19579669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391216" y="2420079"/>
            <a:ext cx="3292298" cy="32957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8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5pPr>
            <a:lvl6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6pPr>
            <a:lvl7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8pPr>
            <a:lvl9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2"/>
                </a:solidFill>
                <a:latin typeface="Marianne" panose="02000000000000000000" pitchFamily="2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AE453FD-E568-AEAA-B810-6ADE4D2B4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085433" y="2767024"/>
            <a:ext cx="609980" cy="609980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D98AD34D-61AD-643B-EAA3-BFF5792F263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133636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arianne" panose="02000000000000000000" pitchFamily="2" charset="0"/>
              <a:buNone/>
              <a:tabLst/>
              <a:defRPr/>
            </a:pPr>
            <a:r>
              <a:rPr lang="fr-FR" dirty="0"/>
              <a:t>`Picto</a:t>
            </a:r>
          </a:p>
        </p:txBody>
      </p:sp>
      <p:sp>
        <p:nvSpPr>
          <p:cNvPr id="6" name="Footer Placeholder 1" descr="Titre de la diapositive">
            <a:extLst>
              <a:ext uri="{FF2B5EF4-FFF2-40B4-BE49-F238E27FC236}">
                <a16:creationId xmlns:a16="http://schemas.microsoft.com/office/drawing/2014/main" id="{6078669F-1AFD-FD31-3D2B-F078CE4E59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4309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08B8A33-A560-179D-82DB-3D758F1E0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845" y="380072"/>
            <a:ext cx="4697186" cy="1325563"/>
          </a:xfrm>
        </p:spPr>
        <p:txBody>
          <a:bodyPr anchor="ctr"/>
          <a:lstStyle>
            <a:lvl1pPr>
              <a:defRPr lang="fr-FR" sz="5400" kern="1200" spc="-2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Marianne" panose="02000000000000000000" pitchFamily="2" charset="0"/>
              <a:buNone/>
            </a:pPr>
            <a:r>
              <a:rPr lang="en-US" dirty="0"/>
              <a:t>Click to edit</a:t>
            </a:r>
            <a:endParaRPr lang="fr-FR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B8E6E82-8A6B-2C99-8BD3-F8C245E0816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525" y="1869439"/>
            <a:ext cx="4695825" cy="39471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B0EF252-B930-24AC-7A2E-91A1F16015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112000" y="0"/>
            <a:ext cx="5075326" cy="6858000"/>
          </a:xfrm>
          <a:custGeom>
            <a:avLst/>
            <a:gdLst>
              <a:gd name="connsiteX0" fmla="*/ 378139 w 5075326"/>
              <a:gd name="connsiteY0" fmla="*/ 0 h 6858000"/>
              <a:gd name="connsiteX1" fmla="*/ 5075326 w 5075326"/>
              <a:gd name="connsiteY1" fmla="*/ 0 h 6858000"/>
              <a:gd name="connsiteX2" fmla="*/ 5075326 w 5075326"/>
              <a:gd name="connsiteY2" fmla="*/ 6858000 h 6858000"/>
              <a:gd name="connsiteX3" fmla="*/ 365542 w 5075326"/>
              <a:gd name="connsiteY3" fmla="*/ 6858000 h 6858000"/>
              <a:gd name="connsiteX4" fmla="*/ 363417 w 5075326"/>
              <a:gd name="connsiteY4" fmla="*/ 6852613 h 6858000"/>
              <a:gd name="connsiteX5" fmla="*/ 168536 w 5075326"/>
              <a:gd name="connsiteY5" fmla="*/ 5986189 h 6858000"/>
              <a:gd name="connsiteX6" fmla="*/ 331966 w 5075326"/>
              <a:gd name="connsiteY6" fmla="*/ 1467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326" h="6858000">
                <a:moveTo>
                  <a:pt x="378139" y="0"/>
                </a:moveTo>
                <a:lnTo>
                  <a:pt x="5075326" y="0"/>
                </a:lnTo>
                <a:lnTo>
                  <a:pt x="5075326" y="6858000"/>
                </a:lnTo>
                <a:lnTo>
                  <a:pt x="365542" y="6858000"/>
                </a:lnTo>
                <a:lnTo>
                  <a:pt x="363417" y="6852613"/>
                </a:lnTo>
                <a:cubicBezTo>
                  <a:pt x="265540" y="6572611"/>
                  <a:pt x="208132" y="6274676"/>
                  <a:pt x="168536" y="5986189"/>
                </a:cubicBezTo>
                <a:cubicBezTo>
                  <a:pt x="-34336" y="4368644"/>
                  <a:pt x="-130792" y="1802044"/>
                  <a:pt x="331966" y="14678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540000" tIns="360000" rIns="288000" rtlCol="0" anchor="t"/>
          <a:lstStyle/>
          <a:p>
            <a:pPr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2B7FD5C-6687-6D69-BD19-BCB5FB5DB07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199276" y="574674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bg1"/>
                </a:solidFill>
                <a:latin typeface="Marianne Medium" panose="02000000000000000000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AC6F338-F800-EA0B-E6A5-F584D4AA8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69152" y="1289656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3F83AF8-FFF7-1E77-E820-DB1A59E6AD0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837132" y="1357637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92E29AB-80FC-8D0E-7245-540A9181F81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99276" y="3526388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>
                <a:solidFill>
                  <a:schemeClr val="bg1"/>
                </a:solidFill>
                <a:latin typeface="Marianne Medium" panose="02000000000000000000" pitchFamily="2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8BC4A9FB-B1CE-760D-5D8E-2BFE9EDF8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69152" y="4241369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en-US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3CA883B6-3D31-179E-643B-119B00E3319F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837132" y="4309350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endParaRPr lang="fr-FR" dirty="0"/>
          </a:p>
        </p:txBody>
      </p:sp>
      <p:sp>
        <p:nvSpPr>
          <p:cNvPr id="2" name="Footer Placeholder 1" descr="Titre de la diapositive">
            <a:extLst>
              <a:ext uri="{FF2B5EF4-FFF2-40B4-BE49-F238E27FC236}">
                <a16:creationId xmlns:a16="http://schemas.microsoft.com/office/drawing/2014/main" id="{8FA75033-22E2-00F3-A5E4-73D6177CA8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362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+Char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932022-157D-1370-3310-AACB88CF8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1" y="1839229"/>
            <a:ext cx="6205537" cy="5014009"/>
          </a:xfrm>
          <a:custGeom>
            <a:avLst/>
            <a:gdLst>
              <a:gd name="connsiteX0" fmla="*/ 0 w 6046847"/>
              <a:gd name="connsiteY0" fmla="*/ 4885789 h 4885789"/>
              <a:gd name="connsiteX1" fmla="*/ 170126 w 6046847"/>
              <a:gd name="connsiteY1" fmla="*/ 4840091 h 4885789"/>
              <a:gd name="connsiteX2" fmla="*/ 381130 w 6046847"/>
              <a:gd name="connsiteY2" fmla="*/ 4766650 h 4885789"/>
              <a:gd name="connsiteX3" fmla="*/ 4824470 w 6046847"/>
              <a:gd name="connsiteY3" fmla="*/ 2303176 h 4885789"/>
              <a:gd name="connsiteX4" fmla="*/ 5999848 w 6046847"/>
              <a:gd name="connsiteY4" fmla="*/ 349430 h 4885789"/>
              <a:gd name="connsiteX5" fmla="*/ 6046847 w 6046847"/>
              <a:gd name="connsiteY5" fmla="*/ 0 h 4885789"/>
              <a:gd name="connsiteX6" fmla="*/ 0 w 6046847"/>
              <a:gd name="connsiteY6" fmla="*/ 0 h 48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6847" h="4885789">
                <a:moveTo>
                  <a:pt x="0" y="4885789"/>
                </a:moveTo>
                <a:lnTo>
                  <a:pt x="170126" y="4840091"/>
                </a:lnTo>
                <a:cubicBezTo>
                  <a:pt x="241132" y="4818239"/>
                  <a:pt x="311516" y="4793760"/>
                  <a:pt x="381130" y="4766650"/>
                </a:cubicBezTo>
                <a:cubicBezTo>
                  <a:pt x="1957046" y="4152868"/>
                  <a:pt x="3454842" y="3327794"/>
                  <a:pt x="4824470" y="2303176"/>
                </a:cubicBezTo>
                <a:cubicBezTo>
                  <a:pt x="5459151" y="1828356"/>
                  <a:pt x="5881345" y="1126520"/>
                  <a:pt x="5999848" y="349430"/>
                </a:cubicBezTo>
                <a:lnTo>
                  <a:pt x="6046847" y="0"/>
                </a:lnTo>
                <a:lnTo>
                  <a:pt x="0" y="0"/>
                </a:lnTo>
                <a:close/>
              </a:path>
            </a:pathLst>
          </a:custGeom>
          <a:solidFill>
            <a:srgbClr val="B0BFF0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72F42F-FE27-09E8-91A8-7BA1EB38756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74675" y="587374"/>
            <a:ext cx="4432300" cy="5241925"/>
          </a:xfrm>
        </p:spPr>
        <p:txBody>
          <a:bodyPr anchor="ctr"/>
          <a:lstStyle>
            <a:lvl1pPr algn="ctr">
              <a:defRPr sz="1200"/>
            </a:lvl1pPr>
          </a:lstStyle>
          <a:p>
            <a:endParaRPr lang="fr-FR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443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6E53D73E-CBB8-97F6-1F2C-F8EF9493D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950" y="380072"/>
            <a:ext cx="5438084" cy="1325563"/>
          </a:xfrm>
        </p:spPr>
        <p:txBody>
          <a:bodyPr anchor="ctr"/>
          <a:lstStyle>
            <a:lvl1pPr>
              <a:defRPr lang="fr-FR" sz="5400" kern="1200" spc="-2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Marianne" panose="02000000000000000000" pitchFamily="2" charset="0"/>
              <a:buNone/>
            </a:pPr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533FCBD-DAE8-F5A3-E555-B5587B429A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04630" y="1869439"/>
            <a:ext cx="5436508" cy="394715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FR" dirty="0"/>
          </a:p>
        </p:txBody>
      </p:sp>
      <p:sp>
        <p:nvSpPr>
          <p:cNvPr id="3" name="Footer Placeholder 1" descr="Titre de la diapositive">
            <a:extLst>
              <a:ext uri="{FF2B5EF4-FFF2-40B4-BE49-F238E27FC236}">
                <a16:creationId xmlns:a16="http://schemas.microsoft.com/office/drawing/2014/main" id="{8B128EFF-4709-2DB8-680E-6E289AB56A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71758" y="6311001"/>
            <a:ext cx="1856549" cy="2351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diapositive</a:t>
            </a:r>
            <a:endParaRPr lang="fr-FR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7CFE410-8CFF-B7FB-4AEB-09F8DDDDD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575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8E7C69-DF17-0B29-7BD9-663A95C55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42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E7C69-DF17-0B29-7BD9-663A95C55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85CD11-F9AA-5B7D-D43C-D50CEA1EC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0" y="0"/>
            <a:ext cx="6974516" cy="5407050"/>
          </a:xfrm>
          <a:custGeom>
            <a:avLst/>
            <a:gdLst>
              <a:gd name="connsiteX0" fmla="*/ 0 w 6974516"/>
              <a:gd name="connsiteY0" fmla="*/ 0 h 5407050"/>
              <a:gd name="connsiteX1" fmla="*/ 6972485 w 6974516"/>
              <a:gd name="connsiteY1" fmla="*/ 0 h 5407050"/>
              <a:gd name="connsiteX2" fmla="*/ 6974516 w 6974516"/>
              <a:gd name="connsiteY2" fmla="*/ 415321 h 5407050"/>
              <a:gd name="connsiteX3" fmla="*/ 6832570 w 6974516"/>
              <a:gd name="connsiteY3" fmla="*/ 2179000 h 5407050"/>
              <a:gd name="connsiteX4" fmla="*/ 6021251 w 6974516"/>
              <a:gd name="connsiteY4" fmla="*/ 3545492 h 5407050"/>
              <a:gd name="connsiteX5" fmla="*/ 2962407 w 6974516"/>
              <a:gd name="connsiteY5" fmla="*/ 5261450 h 5407050"/>
              <a:gd name="connsiteX6" fmla="*/ 1377598 w 6974516"/>
              <a:gd name="connsiteY6" fmla="*/ 5242584 h 5407050"/>
              <a:gd name="connsiteX7" fmla="*/ 184590 w 6974516"/>
              <a:gd name="connsiteY7" fmla="*/ 4666290 h 5407050"/>
              <a:gd name="connsiteX8" fmla="*/ 0 w 6974516"/>
              <a:gd name="connsiteY8" fmla="*/ 4560918 h 540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74516" h="5407050">
                <a:moveTo>
                  <a:pt x="0" y="0"/>
                </a:moveTo>
                <a:lnTo>
                  <a:pt x="6972485" y="0"/>
                </a:lnTo>
                <a:lnTo>
                  <a:pt x="6974516" y="415321"/>
                </a:lnTo>
                <a:cubicBezTo>
                  <a:pt x="6967656" y="1002978"/>
                  <a:pt x="6920744" y="1592249"/>
                  <a:pt x="6832570" y="2179000"/>
                </a:cubicBezTo>
                <a:cubicBezTo>
                  <a:pt x="6750753" y="2722772"/>
                  <a:pt x="6459497" y="3214184"/>
                  <a:pt x="6021251" y="3545492"/>
                </a:cubicBezTo>
                <a:cubicBezTo>
                  <a:pt x="5091189" y="4248460"/>
                  <a:pt x="4063369" y="4828854"/>
                  <a:pt x="2962407" y="5261450"/>
                </a:cubicBezTo>
                <a:cubicBezTo>
                  <a:pt x="2452128" y="5461909"/>
                  <a:pt x="1882832" y="5455150"/>
                  <a:pt x="1377598" y="5242584"/>
                </a:cubicBezTo>
                <a:cubicBezTo>
                  <a:pt x="968747" y="5070563"/>
                  <a:pt x="570651" y="4878012"/>
                  <a:pt x="184590" y="4666290"/>
                </a:cubicBezTo>
                <a:lnTo>
                  <a:pt x="0" y="4560918"/>
                </a:lnTo>
                <a:close/>
              </a:path>
            </a:pathLst>
          </a:cu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50C3C129-1DBF-54BB-5B1D-4D0ADC287E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56325" y="2519363"/>
            <a:ext cx="790575" cy="79057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CB2426F-BABB-B082-919A-CF2EE54BDB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1612" y="3548064"/>
            <a:ext cx="5089526" cy="2281237"/>
          </a:xfrm>
        </p:spPr>
        <p:txBody>
          <a:bodyPr vert="horz"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04C8B7C-2023-3632-73B3-6E74EE866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9C5C40-9C4F-EF2A-5673-03CB4C97DD3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106C400-327A-C093-346A-0C899DA61A73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6587609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4CD58D7-78D8-5A17-A188-238F3302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0"/>
            <a:ext cx="1309535" cy="5204582"/>
          </a:xfrm>
          <a:custGeom>
            <a:avLst/>
            <a:gdLst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309535 w 1400975"/>
              <a:gd name="connsiteY0" fmla="*/ 5204582 h 5296022"/>
              <a:gd name="connsiteX1" fmla="*/ 121487 w 1400975"/>
              <a:gd name="connsiteY1" fmla="*/ 5204582 h 5296022"/>
              <a:gd name="connsiteX2" fmla="*/ 120441 w 1400975"/>
              <a:gd name="connsiteY2" fmla="*/ 5199379 h 5296022"/>
              <a:gd name="connsiteX3" fmla="*/ 1298653 w 1400975"/>
              <a:gd name="connsiteY3" fmla="*/ 11547 h 5296022"/>
              <a:gd name="connsiteX4" fmla="*/ 1309535 w 1400975"/>
              <a:gd name="connsiteY4" fmla="*/ 0 h 5296022"/>
              <a:gd name="connsiteX5" fmla="*/ 1400975 w 1400975"/>
              <a:gd name="connsiteY5" fmla="*/ 5296022 h 5296022"/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21487 w 1309535"/>
              <a:gd name="connsiteY0" fmla="*/ 5204582 h 5204582"/>
              <a:gd name="connsiteX1" fmla="*/ 120441 w 1309535"/>
              <a:gd name="connsiteY1" fmla="*/ 5199379 h 5204582"/>
              <a:gd name="connsiteX2" fmla="*/ 1298653 w 1309535"/>
              <a:gd name="connsiteY2" fmla="*/ 11547 h 5204582"/>
              <a:gd name="connsiteX3" fmla="*/ 1309535 w 1309535"/>
              <a:gd name="connsiteY3" fmla="*/ 0 h 520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9535" h="5204582">
                <a:moveTo>
                  <a:pt x="121487" y="5204582"/>
                </a:moveTo>
                <a:lnTo>
                  <a:pt x="120441" y="5199379"/>
                </a:lnTo>
                <a:cubicBezTo>
                  <a:pt x="-176764" y="3459435"/>
                  <a:pt x="25807" y="1522431"/>
                  <a:pt x="1298653" y="11547"/>
                </a:cubicBezTo>
                <a:lnTo>
                  <a:pt x="1309535" y="0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lIns="540000" tIns="360000" rIns="288000" rtlCol="0" anchor="t"/>
          <a:lstStyle/>
          <a:p>
            <a:pPr lvl="0"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  <a:latin typeface="Marianne Light" panose="02000000000000000000" pitchFamily="2" charset="0"/>
            </a:endParaRP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B23A81C-0601-8D71-6316-415A0C023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6613" y="1910376"/>
            <a:ext cx="790575" cy="790575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3800" dirty="0">
                <a:solidFill>
                  <a:schemeClr val="accent3">
                    <a:alpha val="0"/>
                  </a:schemeClr>
                </a:solidFill>
                <a:latin typeface="Marianne" panose="02000000000000000000" pitchFamily="2" charset="0"/>
              </a:defRPr>
            </a:lvl1pPr>
          </a:lstStyle>
          <a:p>
            <a:pPr lvl="0" algn="ctr">
              <a:spcAft>
                <a:spcPts val="0"/>
              </a:spcAft>
            </a:pPr>
            <a:endParaRPr lang="en-US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9B37FF7-EEC5-C617-9A0E-73FBD2B66A9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01701" y="1975464"/>
            <a:ext cx="660400" cy="660400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endParaRPr lang="fr-FR" dirty="0"/>
          </a:p>
        </p:txBody>
      </p:sp>
      <p:sp>
        <p:nvSpPr>
          <p:cNvPr id="16" name="Title 29">
            <a:extLst>
              <a:ext uri="{FF2B5EF4-FFF2-40B4-BE49-F238E27FC236}">
                <a16:creationId xmlns:a16="http://schemas.microsoft.com/office/drawing/2014/main" id="{8696F007-0692-050C-3E59-5803D154D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5185" y="574675"/>
            <a:ext cx="9720552" cy="711200"/>
          </a:xfrm>
        </p:spPr>
        <p:txBody>
          <a:bodyPr anchor="t"/>
          <a:lstStyle>
            <a:lvl1pPr>
              <a:defRPr sz="5400" spc="-2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fr-FR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A77F08A-B5CB-709C-4BD6-D127EAA251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95187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600"/>
              </a:spcAft>
              <a:defRPr sz="1200">
                <a:latin typeface="+mn-lt"/>
              </a:defRPr>
            </a:lvl3pPr>
            <a:lvl4pPr>
              <a:spcAft>
                <a:spcPts val="600"/>
              </a:spcAft>
              <a:defRPr sz="1200">
                <a:latin typeface="+mn-lt"/>
              </a:defRPr>
            </a:lvl4pPr>
            <a:lvl5pPr>
              <a:spcAft>
                <a:spcPts val="600"/>
              </a:spcAft>
              <a:defRPr sz="1200">
                <a:latin typeface="+mn-lt"/>
              </a:defRPr>
            </a:lvl5pPr>
            <a:lvl6pPr>
              <a:spcAft>
                <a:spcPts val="600"/>
              </a:spcAft>
              <a:defRPr sz="1200">
                <a:latin typeface="+mn-lt"/>
              </a:defRPr>
            </a:lvl6pPr>
            <a:lvl7pPr>
              <a:spcAft>
                <a:spcPts val="600"/>
              </a:spcAft>
              <a:defRPr sz="1200">
                <a:latin typeface="+mn-lt"/>
              </a:defRPr>
            </a:lvl7pPr>
            <a:lvl8pPr>
              <a:spcAft>
                <a:spcPts val="600"/>
              </a:spcAft>
              <a:defRPr sz="1200">
                <a:latin typeface="+mn-lt"/>
              </a:defRPr>
            </a:lvl8pPr>
            <a:lvl9pPr>
              <a:spcAft>
                <a:spcPts val="600"/>
              </a:spcAft>
              <a:defRPr sz="1200"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  <p:pic>
        <p:nvPicPr>
          <p:cNvPr id="8" name="Graphic 1">
            <a:extLst>
              <a:ext uri="{FF2B5EF4-FFF2-40B4-BE49-F238E27FC236}">
                <a16:creationId xmlns:a16="http://schemas.microsoft.com/office/drawing/2014/main" id="{53A8FFC1-B893-1D6B-1858-69770A7DB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22C13602-EAC4-1F00-D9C9-4B498785152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059323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600"/>
              </a:spcAft>
              <a:defRPr sz="1200">
                <a:latin typeface="+mn-lt"/>
              </a:defRPr>
            </a:lvl3pPr>
            <a:lvl4pPr>
              <a:spcAft>
                <a:spcPts val="600"/>
              </a:spcAft>
              <a:defRPr sz="1200">
                <a:latin typeface="+mn-lt"/>
              </a:defRPr>
            </a:lvl4pPr>
            <a:lvl5pPr>
              <a:spcAft>
                <a:spcPts val="600"/>
              </a:spcAft>
              <a:defRPr sz="1200">
                <a:latin typeface="+mn-lt"/>
              </a:defRPr>
            </a:lvl5pPr>
            <a:lvl6pPr>
              <a:spcAft>
                <a:spcPts val="600"/>
              </a:spcAft>
              <a:defRPr sz="1200">
                <a:latin typeface="+mn-lt"/>
              </a:defRPr>
            </a:lvl6pPr>
            <a:lvl7pPr>
              <a:spcAft>
                <a:spcPts val="600"/>
              </a:spcAft>
              <a:defRPr sz="1200">
                <a:latin typeface="+mn-lt"/>
              </a:defRPr>
            </a:lvl7pPr>
            <a:lvl8pPr>
              <a:spcAft>
                <a:spcPts val="600"/>
              </a:spcAft>
              <a:defRPr sz="1200">
                <a:latin typeface="+mn-lt"/>
              </a:defRPr>
            </a:lvl8pPr>
            <a:lvl9pPr>
              <a:spcAft>
                <a:spcPts val="600"/>
              </a:spcAft>
              <a:defRPr sz="1200"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500279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lement graphique">
    <p:bg>
      <p:bgPr>
        <a:solidFill>
          <a:schemeClr val="accent5">
            <a:lumMod val="20000"/>
            <a:lumOff val="80000"/>
            <a:alpha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" name="Illustration">
            <a:extLst>
              <a:ext uri="{FF2B5EF4-FFF2-40B4-BE49-F238E27FC236}">
                <a16:creationId xmlns:a16="http://schemas.microsoft.com/office/drawing/2014/main" id="{B0A68F2D-B2AD-D748-8E1F-8F86FA5AA8EC}"/>
              </a:ext>
            </a:extLst>
          </p:cNvPr>
          <p:cNvGrpSpPr/>
          <p:nvPr/>
        </p:nvGrpSpPr>
        <p:grpSpPr>
          <a:xfrm>
            <a:off x="427743" y="3398853"/>
            <a:ext cx="2292939" cy="2654261"/>
            <a:chOff x="427743" y="3398853"/>
            <a:chExt cx="2292939" cy="2654261"/>
          </a:xfrm>
        </p:grpSpPr>
        <p:sp>
          <p:nvSpPr>
            <p:cNvPr id="333" name="Forme libre 332">
              <a:extLst>
                <a:ext uri="{FF2B5EF4-FFF2-40B4-BE49-F238E27FC236}">
                  <a16:creationId xmlns:a16="http://schemas.microsoft.com/office/drawing/2014/main" id="{DE862071-18B7-B247-A3B4-83E5610CA1B1}"/>
                </a:ext>
              </a:extLst>
            </p:cNvPr>
            <p:cNvSpPr/>
            <p:nvPr/>
          </p:nvSpPr>
          <p:spPr>
            <a:xfrm>
              <a:off x="698147" y="3586513"/>
              <a:ext cx="129329" cy="176401"/>
            </a:xfrm>
            <a:custGeom>
              <a:avLst/>
              <a:gdLst>
                <a:gd name="connsiteX0" fmla="*/ 129330 w 129329"/>
                <a:gd name="connsiteY0" fmla="*/ 74105 h 176401"/>
                <a:gd name="connsiteX1" fmla="*/ 107573 w 129329"/>
                <a:gd name="connsiteY1" fmla="*/ 176402 h 176401"/>
                <a:gd name="connsiteX2" fmla="*/ 0 w 129329"/>
                <a:gd name="connsiteY2" fmla="*/ 146599 h 176401"/>
                <a:gd name="connsiteX3" fmla="*/ 70507 w 129329"/>
                <a:gd name="connsiteY3" fmla="*/ 0 h 176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29" h="176401">
                  <a:moveTo>
                    <a:pt x="129330" y="74105"/>
                  </a:moveTo>
                  <a:lnTo>
                    <a:pt x="107573" y="176402"/>
                  </a:lnTo>
                  <a:lnTo>
                    <a:pt x="0" y="146599"/>
                  </a:lnTo>
                  <a:lnTo>
                    <a:pt x="70507" y="0"/>
                  </a:lnTo>
                  <a:close/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4" name="Forme libre 333">
              <a:extLst>
                <a:ext uri="{FF2B5EF4-FFF2-40B4-BE49-F238E27FC236}">
                  <a16:creationId xmlns:a16="http://schemas.microsoft.com/office/drawing/2014/main" id="{C47A5802-CAE8-E541-95DE-8C458725001E}"/>
                </a:ext>
              </a:extLst>
            </p:cNvPr>
            <p:cNvSpPr/>
            <p:nvPr/>
          </p:nvSpPr>
          <p:spPr>
            <a:xfrm>
              <a:off x="767917" y="3456427"/>
              <a:ext cx="173981" cy="236637"/>
            </a:xfrm>
            <a:custGeom>
              <a:avLst/>
              <a:gdLst>
                <a:gd name="connsiteX0" fmla="*/ 86151 w 173981"/>
                <a:gd name="connsiteY0" fmla="*/ 232786 h 236637"/>
                <a:gd name="connsiteX1" fmla="*/ 117979 w 173981"/>
                <a:gd name="connsiteY1" fmla="*/ 235202 h 236637"/>
                <a:gd name="connsiteX2" fmla="*/ 173982 w 173981"/>
                <a:gd name="connsiteY2" fmla="*/ 42288 h 236637"/>
                <a:gd name="connsiteX3" fmla="*/ 125232 w 173981"/>
                <a:gd name="connsiteY3" fmla="*/ 0 h 236637"/>
                <a:gd name="connsiteX4" fmla="*/ 38609 w 173981"/>
                <a:gd name="connsiteY4" fmla="*/ 22151 h 236637"/>
                <a:gd name="connsiteX5" fmla="*/ 4766 w 173981"/>
                <a:gd name="connsiteY5" fmla="*/ 114379 h 236637"/>
                <a:gd name="connsiteX6" fmla="*/ 16450 w 173981"/>
                <a:gd name="connsiteY6" fmla="*/ 189289 h 236637"/>
                <a:gd name="connsiteX7" fmla="*/ 86151 w 173981"/>
                <a:gd name="connsiteY7" fmla="*/ 232786 h 236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981" h="236637">
                  <a:moveTo>
                    <a:pt x="86151" y="232786"/>
                  </a:moveTo>
                  <a:cubicBezTo>
                    <a:pt x="98640" y="236410"/>
                    <a:pt x="110727" y="238021"/>
                    <a:pt x="117979" y="235202"/>
                  </a:cubicBezTo>
                  <a:cubicBezTo>
                    <a:pt x="169953" y="194928"/>
                    <a:pt x="173982" y="42288"/>
                    <a:pt x="173982" y="42288"/>
                  </a:cubicBezTo>
                  <a:lnTo>
                    <a:pt x="125232" y="0"/>
                  </a:lnTo>
                  <a:lnTo>
                    <a:pt x="38609" y="22151"/>
                  </a:lnTo>
                  <a:lnTo>
                    <a:pt x="4766" y="114379"/>
                  </a:lnTo>
                  <a:cubicBezTo>
                    <a:pt x="-4501" y="138946"/>
                    <a:pt x="-69" y="166736"/>
                    <a:pt x="16450" y="189289"/>
                  </a:cubicBezTo>
                  <a:cubicBezTo>
                    <a:pt x="34983" y="209427"/>
                    <a:pt x="59157" y="224731"/>
                    <a:pt x="86151" y="232786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5" name="Forme libre 334">
              <a:extLst>
                <a:ext uri="{FF2B5EF4-FFF2-40B4-BE49-F238E27FC236}">
                  <a16:creationId xmlns:a16="http://schemas.microsoft.com/office/drawing/2014/main" id="{5AB38D78-0F88-D947-9D51-6F41AA170C18}"/>
                </a:ext>
              </a:extLst>
            </p:cNvPr>
            <p:cNvSpPr/>
            <p:nvPr/>
          </p:nvSpPr>
          <p:spPr>
            <a:xfrm>
              <a:off x="745427" y="3398853"/>
              <a:ext cx="263655" cy="187256"/>
            </a:xfrm>
            <a:custGeom>
              <a:avLst/>
              <a:gdLst>
                <a:gd name="connsiteX0" fmla="*/ 55458 w 263655"/>
                <a:gd name="connsiteY0" fmla="*/ 136511 h 187256"/>
                <a:gd name="connsiteX1" fmla="*/ 88899 w 263655"/>
                <a:gd name="connsiteY1" fmla="*/ 93015 h 187256"/>
                <a:gd name="connsiteX2" fmla="*/ 152959 w 263655"/>
                <a:gd name="connsiteY2" fmla="*/ 117180 h 187256"/>
                <a:gd name="connsiteX3" fmla="*/ 261741 w 263655"/>
                <a:gd name="connsiteY3" fmla="*/ 84155 h 187256"/>
                <a:gd name="connsiteX4" fmla="*/ 239582 w 263655"/>
                <a:gd name="connsiteY4" fmla="*/ 20119 h 187256"/>
                <a:gd name="connsiteX5" fmla="*/ 193249 w 263655"/>
                <a:gd name="connsiteY5" fmla="*/ 4814 h 187256"/>
                <a:gd name="connsiteX6" fmla="*/ 80841 w 263655"/>
                <a:gd name="connsiteY6" fmla="*/ 8439 h 187256"/>
                <a:gd name="connsiteX7" fmla="*/ 6305 w 263655"/>
                <a:gd name="connsiteY7" fmla="*/ 27368 h 187256"/>
                <a:gd name="connsiteX8" fmla="*/ 4291 w 263655"/>
                <a:gd name="connsiteY8" fmla="*/ 135303 h 187256"/>
                <a:gd name="connsiteX9" fmla="*/ 22824 w 263655"/>
                <a:gd name="connsiteY9" fmla="*/ 187257 h 187256"/>
                <a:gd name="connsiteX10" fmla="*/ 55458 w 263655"/>
                <a:gd name="connsiteY10" fmla="*/ 136511 h 187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3655" h="187256">
                  <a:moveTo>
                    <a:pt x="55458" y="136511"/>
                  </a:moveTo>
                  <a:cubicBezTo>
                    <a:pt x="64322" y="122013"/>
                    <a:pt x="73991" y="85363"/>
                    <a:pt x="88899" y="93015"/>
                  </a:cubicBezTo>
                  <a:cubicBezTo>
                    <a:pt x="99777" y="98653"/>
                    <a:pt x="139261" y="113152"/>
                    <a:pt x="152959" y="117180"/>
                  </a:cubicBezTo>
                  <a:cubicBezTo>
                    <a:pt x="185191" y="127248"/>
                    <a:pt x="246028" y="133289"/>
                    <a:pt x="261741" y="84155"/>
                  </a:cubicBezTo>
                  <a:cubicBezTo>
                    <a:pt x="269396" y="59587"/>
                    <a:pt x="252474" y="31395"/>
                    <a:pt x="239582" y="20119"/>
                  </a:cubicBezTo>
                  <a:cubicBezTo>
                    <a:pt x="226689" y="9244"/>
                    <a:pt x="210170" y="4411"/>
                    <a:pt x="193249" y="4814"/>
                  </a:cubicBezTo>
                  <a:cubicBezTo>
                    <a:pt x="154168" y="6023"/>
                    <a:pt x="98568" y="18105"/>
                    <a:pt x="80841" y="8439"/>
                  </a:cubicBezTo>
                  <a:cubicBezTo>
                    <a:pt x="51429" y="-8074"/>
                    <a:pt x="14363" y="384"/>
                    <a:pt x="6305" y="27368"/>
                  </a:cubicBezTo>
                  <a:cubicBezTo>
                    <a:pt x="-2156" y="55963"/>
                    <a:pt x="-1350" y="103486"/>
                    <a:pt x="4291" y="135303"/>
                  </a:cubicBezTo>
                  <a:cubicBezTo>
                    <a:pt x="7514" y="153829"/>
                    <a:pt x="13557" y="171147"/>
                    <a:pt x="22824" y="187257"/>
                  </a:cubicBezTo>
                  <a:lnTo>
                    <a:pt x="55458" y="136511"/>
                  </a:lnTo>
                  <a:close/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6" name="Forme libre 335">
              <a:extLst>
                <a:ext uri="{FF2B5EF4-FFF2-40B4-BE49-F238E27FC236}">
                  <a16:creationId xmlns:a16="http://schemas.microsoft.com/office/drawing/2014/main" id="{7E3554BD-29BE-244E-8276-17E750474D9F}"/>
                </a:ext>
              </a:extLst>
            </p:cNvPr>
            <p:cNvSpPr/>
            <p:nvPr/>
          </p:nvSpPr>
          <p:spPr>
            <a:xfrm>
              <a:off x="758919" y="3527212"/>
              <a:ext cx="41225" cy="41678"/>
            </a:xfrm>
            <a:custGeom>
              <a:avLst/>
              <a:gdLst>
                <a:gd name="connsiteX0" fmla="*/ 8123 w 41225"/>
                <a:gd name="connsiteY0" fmla="*/ 1306 h 41678"/>
                <a:gd name="connsiteX1" fmla="*/ 37131 w 41225"/>
                <a:gd name="connsiteY1" fmla="*/ 13388 h 41678"/>
                <a:gd name="connsiteX2" fmla="*/ 33103 w 41225"/>
                <a:gd name="connsiteY2" fmla="*/ 40372 h 41678"/>
                <a:gd name="connsiteX3" fmla="*/ 4094 w 41225"/>
                <a:gd name="connsiteY3" fmla="*/ 28290 h 41678"/>
                <a:gd name="connsiteX4" fmla="*/ 8123 w 41225"/>
                <a:gd name="connsiteY4" fmla="*/ 1306 h 41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225" h="41678">
                  <a:moveTo>
                    <a:pt x="8123" y="1306"/>
                  </a:moveTo>
                  <a:cubicBezTo>
                    <a:pt x="17390" y="-2721"/>
                    <a:pt x="30282" y="2917"/>
                    <a:pt x="37131" y="13388"/>
                  </a:cubicBezTo>
                  <a:cubicBezTo>
                    <a:pt x="43981" y="24263"/>
                    <a:pt x="41966" y="36345"/>
                    <a:pt x="33103" y="40372"/>
                  </a:cubicBezTo>
                  <a:cubicBezTo>
                    <a:pt x="23836" y="44400"/>
                    <a:pt x="10943" y="38761"/>
                    <a:pt x="4094" y="28290"/>
                  </a:cubicBezTo>
                  <a:cubicBezTo>
                    <a:pt x="-2755" y="17013"/>
                    <a:pt x="-741" y="5334"/>
                    <a:pt x="8123" y="1306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7" name="Forme libre 336">
              <a:extLst>
                <a:ext uri="{FF2B5EF4-FFF2-40B4-BE49-F238E27FC236}">
                  <a16:creationId xmlns:a16="http://schemas.microsoft.com/office/drawing/2014/main" id="{19917C7E-D0E5-8140-8555-EDC33F148AD5}"/>
                </a:ext>
              </a:extLst>
            </p:cNvPr>
            <p:cNvSpPr/>
            <p:nvPr/>
          </p:nvSpPr>
          <p:spPr>
            <a:xfrm>
              <a:off x="500884" y="3710049"/>
              <a:ext cx="471231" cy="825326"/>
            </a:xfrm>
            <a:custGeom>
              <a:avLst/>
              <a:gdLst>
                <a:gd name="connsiteX0" fmla="*/ 243999 w 471231"/>
                <a:gd name="connsiteY0" fmla="*/ 509 h 825326"/>
                <a:gd name="connsiteX1" fmla="*/ 9916 w 471231"/>
                <a:gd name="connsiteY1" fmla="*/ 360964 h 825326"/>
                <a:gd name="connsiteX2" fmla="*/ 5485 w 471231"/>
                <a:gd name="connsiteY2" fmla="*/ 825327 h 825326"/>
                <a:gd name="connsiteX3" fmla="*/ 471232 w 471231"/>
                <a:gd name="connsiteY3" fmla="*/ 825327 h 825326"/>
                <a:gd name="connsiteX4" fmla="*/ 466397 w 471231"/>
                <a:gd name="connsiteY4" fmla="*/ 412918 h 825326"/>
                <a:gd name="connsiteX5" fmla="*/ 243999 w 471231"/>
                <a:gd name="connsiteY5" fmla="*/ 509 h 825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1231" h="825326">
                  <a:moveTo>
                    <a:pt x="243999" y="509"/>
                  </a:moveTo>
                  <a:cubicBezTo>
                    <a:pt x="43760" y="-10768"/>
                    <a:pt x="26838" y="167244"/>
                    <a:pt x="9916" y="360964"/>
                  </a:cubicBezTo>
                  <a:cubicBezTo>
                    <a:pt x="-9423" y="582875"/>
                    <a:pt x="5485" y="825327"/>
                    <a:pt x="5485" y="825327"/>
                  </a:cubicBezTo>
                  <a:lnTo>
                    <a:pt x="471232" y="825327"/>
                  </a:lnTo>
                  <a:cubicBezTo>
                    <a:pt x="471232" y="825327"/>
                    <a:pt x="471232" y="619122"/>
                    <a:pt x="466397" y="412918"/>
                  </a:cubicBezTo>
                  <a:cubicBezTo>
                    <a:pt x="461562" y="212352"/>
                    <a:pt x="455519" y="12188"/>
                    <a:pt x="243999" y="509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8" name="Forme libre 337">
              <a:extLst>
                <a:ext uri="{FF2B5EF4-FFF2-40B4-BE49-F238E27FC236}">
                  <a16:creationId xmlns:a16="http://schemas.microsoft.com/office/drawing/2014/main" id="{C6500D80-CA84-3642-B513-996859477C4D}"/>
                </a:ext>
              </a:extLst>
            </p:cNvPr>
            <p:cNvSpPr/>
            <p:nvPr/>
          </p:nvSpPr>
          <p:spPr>
            <a:xfrm>
              <a:off x="947539" y="4407829"/>
              <a:ext cx="71443" cy="40554"/>
            </a:xfrm>
            <a:custGeom>
              <a:avLst/>
              <a:gdLst>
                <a:gd name="connsiteX0" fmla="*/ 0 w 71443"/>
                <a:gd name="connsiteY0" fmla="*/ 25251 h 40554"/>
                <a:gd name="connsiteX1" fmla="*/ 62852 w 71443"/>
                <a:gd name="connsiteY1" fmla="*/ 1086 h 40554"/>
                <a:gd name="connsiteX2" fmla="*/ 66478 w 71443"/>
                <a:gd name="connsiteY2" fmla="*/ 40555 h 40554"/>
                <a:gd name="connsiteX3" fmla="*/ 0 w 71443"/>
                <a:gd name="connsiteY3" fmla="*/ 25251 h 4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1443" h="40554">
                  <a:moveTo>
                    <a:pt x="0" y="25251"/>
                  </a:moveTo>
                  <a:cubicBezTo>
                    <a:pt x="0" y="25251"/>
                    <a:pt x="45930" y="-6163"/>
                    <a:pt x="62852" y="1086"/>
                  </a:cubicBezTo>
                  <a:cubicBezTo>
                    <a:pt x="79773" y="8738"/>
                    <a:pt x="66478" y="40555"/>
                    <a:pt x="66478" y="40555"/>
                  </a:cubicBezTo>
                  <a:lnTo>
                    <a:pt x="0" y="25251"/>
                  </a:lnTo>
                  <a:close/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39" name="Forme libre 338">
              <a:extLst>
                <a:ext uri="{FF2B5EF4-FFF2-40B4-BE49-F238E27FC236}">
                  <a16:creationId xmlns:a16="http://schemas.microsoft.com/office/drawing/2014/main" id="{80D250B1-3243-134C-8FBF-AC7D232AD728}"/>
                </a:ext>
              </a:extLst>
            </p:cNvPr>
            <p:cNvSpPr/>
            <p:nvPr/>
          </p:nvSpPr>
          <p:spPr>
            <a:xfrm>
              <a:off x="427743" y="4070208"/>
              <a:ext cx="527047" cy="389452"/>
            </a:xfrm>
            <a:custGeom>
              <a:avLst/>
              <a:gdLst>
                <a:gd name="connsiteX0" fmla="*/ 191839 w 527047"/>
                <a:gd name="connsiteY0" fmla="*/ 25775 h 389452"/>
                <a:gd name="connsiteX1" fmla="*/ 170082 w 527047"/>
                <a:gd name="connsiteY1" fmla="*/ 173180 h 389452"/>
                <a:gd name="connsiteX2" fmla="*/ 527048 w 527047"/>
                <a:gd name="connsiteY2" fmla="*/ 350789 h 389452"/>
                <a:gd name="connsiteX3" fmla="*/ 487967 w 527047"/>
                <a:gd name="connsiteY3" fmla="*/ 389453 h 389452"/>
                <a:gd name="connsiteX4" fmla="*/ 30680 w 527047"/>
                <a:gd name="connsiteY4" fmla="*/ 264602 h 389452"/>
                <a:gd name="connsiteX5" fmla="*/ 13356 w 527047"/>
                <a:gd name="connsiteY5" fmla="*/ 0 h 389452"/>
                <a:gd name="connsiteX6" fmla="*/ 191839 w 527047"/>
                <a:gd name="connsiteY6" fmla="*/ 25775 h 389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047" h="389452">
                  <a:moveTo>
                    <a:pt x="191839" y="25775"/>
                  </a:moveTo>
                  <a:lnTo>
                    <a:pt x="170082" y="173180"/>
                  </a:lnTo>
                  <a:lnTo>
                    <a:pt x="527048" y="350789"/>
                  </a:lnTo>
                  <a:lnTo>
                    <a:pt x="487967" y="389453"/>
                  </a:lnTo>
                  <a:cubicBezTo>
                    <a:pt x="487967" y="389453"/>
                    <a:pt x="87489" y="317362"/>
                    <a:pt x="30680" y="264602"/>
                  </a:cubicBezTo>
                  <a:cubicBezTo>
                    <a:pt x="-26128" y="211843"/>
                    <a:pt x="13356" y="0"/>
                    <a:pt x="13356" y="0"/>
                  </a:cubicBezTo>
                  <a:lnTo>
                    <a:pt x="191839" y="25775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0" name="Forme libre 339">
              <a:extLst>
                <a:ext uri="{FF2B5EF4-FFF2-40B4-BE49-F238E27FC236}">
                  <a16:creationId xmlns:a16="http://schemas.microsoft.com/office/drawing/2014/main" id="{BA405492-EE9A-B04D-9728-5AD1BC48DBD6}"/>
                </a:ext>
              </a:extLst>
            </p:cNvPr>
            <p:cNvSpPr/>
            <p:nvPr/>
          </p:nvSpPr>
          <p:spPr>
            <a:xfrm>
              <a:off x="978065" y="4018656"/>
              <a:ext cx="88124" cy="311871"/>
            </a:xfrm>
            <a:custGeom>
              <a:avLst/>
              <a:gdLst>
                <a:gd name="connsiteX0" fmla="*/ 41189 w 88124"/>
                <a:gd name="connsiteY0" fmla="*/ 310112 h 311871"/>
                <a:gd name="connsiteX1" fmla="*/ 73018 w 88124"/>
                <a:gd name="connsiteY1" fmla="*/ 403 h 311871"/>
                <a:gd name="connsiteX2" fmla="*/ 24670 w 88124"/>
                <a:gd name="connsiteY2" fmla="*/ 0 h 311871"/>
                <a:gd name="connsiteX3" fmla="*/ 41189 w 88124"/>
                <a:gd name="connsiteY3" fmla="*/ 310112 h 311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8124" h="311871">
                  <a:moveTo>
                    <a:pt x="41189" y="310112"/>
                  </a:moveTo>
                  <a:cubicBezTo>
                    <a:pt x="122977" y="281115"/>
                    <a:pt x="73018" y="403"/>
                    <a:pt x="73018" y="403"/>
                  </a:cubicBezTo>
                  <a:lnTo>
                    <a:pt x="24670" y="0"/>
                  </a:lnTo>
                  <a:cubicBezTo>
                    <a:pt x="24670" y="0"/>
                    <a:pt x="-40599" y="339110"/>
                    <a:pt x="41189" y="310112"/>
                  </a:cubicBezTo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1" name="Forme libre 340">
              <a:extLst>
                <a:ext uri="{FF2B5EF4-FFF2-40B4-BE49-F238E27FC236}">
                  <a16:creationId xmlns:a16="http://schemas.microsoft.com/office/drawing/2014/main" id="{015A8883-44F7-3347-A72D-7757F2566049}"/>
                </a:ext>
              </a:extLst>
            </p:cNvPr>
            <p:cNvSpPr/>
            <p:nvPr/>
          </p:nvSpPr>
          <p:spPr>
            <a:xfrm>
              <a:off x="893954" y="4413341"/>
              <a:ext cx="178468" cy="97888"/>
            </a:xfrm>
            <a:custGeom>
              <a:avLst/>
              <a:gdLst>
                <a:gd name="connsiteX0" fmla="*/ 0 w 178468"/>
                <a:gd name="connsiteY0" fmla="*/ 39070 h 97888"/>
                <a:gd name="connsiteX1" fmla="*/ 84205 w 178468"/>
                <a:gd name="connsiteY1" fmla="*/ 93038 h 97888"/>
                <a:gd name="connsiteX2" fmla="*/ 172439 w 178468"/>
                <a:gd name="connsiteY2" fmla="*/ 49944 h 97888"/>
                <a:gd name="connsiteX3" fmla="*/ 146251 w 178468"/>
                <a:gd name="connsiteY3" fmla="*/ 4 h 97888"/>
                <a:gd name="connsiteX4" fmla="*/ 61240 w 178468"/>
                <a:gd name="connsiteY4" fmla="*/ 8059 h 97888"/>
                <a:gd name="connsiteX5" fmla="*/ 0 w 178468"/>
                <a:gd name="connsiteY5" fmla="*/ 39070 h 9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468" h="97888">
                  <a:moveTo>
                    <a:pt x="0" y="39070"/>
                  </a:moveTo>
                  <a:lnTo>
                    <a:pt x="84205" y="93038"/>
                  </a:lnTo>
                  <a:cubicBezTo>
                    <a:pt x="118048" y="108745"/>
                    <a:pt x="147863" y="84178"/>
                    <a:pt x="172439" y="49944"/>
                  </a:cubicBezTo>
                  <a:cubicBezTo>
                    <a:pt x="187749" y="28599"/>
                    <a:pt x="172036" y="-398"/>
                    <a:pt x="146251" y="4"/>
                  </a:cubicBezTo>
                  <a:cubicBezTo>
                    <a:pt x="116034" y="407"/>
                    <a:pt x="79370" y="6448"/>
                    <a:pt x="61240" y="8059"/>
                  </a:cubicBezTo>
                  <a:lnTo>
                    <a:pt x="0" y="3907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2" name="Forme libre 341">
              <a:extLst>
                <a:ext uri="{FF2B5EF4-FFF2-40B4-BE49-F238E27FC236}">
                  <a16:creationId xmlns:a16="http://schemas.microsoft.com/office/drawing/2014/main" id="{763CFEA1-CF12-0A46-946D-601120F2A5EC}"/>
                </a:ext>
              </a:extLst>
            </p:cNvPr>
            <p:cNvSpPr/>
            <p:nvPr/>
          </p:nvSpPr>
          <p:spPr>
            <a:xfrm>
              <a:off x="852102" y="3749400"/>
              <a:ext cx="211874" cy="303892"/>
            </a:xfrm>
            <a:custGeom>
              <a:avLst/>
              <a:gdLst>
                <a:gd name="connsiteX0" fmla="*/ 211874 w 211874"/>
                <a:gd name="connsiteY0" fmla="*/ 269659 h 303892"/>
                <a:gd name="connsiteX1" fmla="*/ 154663 w 211874"/>
                <a:gd name="connsiteY1" fmla="*/ 303892 h 303892"/>
                <a:gd name="connsiteX2" fmla="*/ 32988 w 211874"/>
                <a:gd name="connsiteY2" fmla="*/ 17139 h 303892"/>
                <a:gd name="connsiteX3" fmla="*/ 211874 w 211874"/>
                <a:gd name="connsiteY3" fmla="*/ 269659 h 303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874" h="303892">
                  <a:moveTo>
                    <a:pt x="211874" y="269659"/>
                  </a:moveTo>
                  <a:lnTo>
                    <a:pt x="154663" y="303892"/>
                  </a:lnTo>
                  <a:cubicBezTo>
                    <a:pt x="154663" y="303892"/>
                    <a:pt x="-85866" y="-85158"/>
                    <a:pt x="32988" y="17139"/>
                  </a:cubicBezTo>
                  <a:cubicBezTo>
                    <a:pt x="157080" y="124269"/>
                    <a:pt x="211874" y="269659"/>
                    <a:pt x="211874" y="269659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3" name="Forme libre 342">
              <a:extLst>
                <a:ext uri="{FF2B5EF4-FFF2-40B4-BE49-F238E27FC236}">
                  <a16:creationId xmlns:a16="http://schemas.microsoft.com/office/drawing/2014/main" id="{3D3ABC73-A665-8B43-890E-ADDBA2B4906F}"/>
                </a:ext>
              </a:extLst>
            </p:cNvPr>
            <p:cNvSpPr/>
            <p:nvPr/>
          </p:nvSpPr>
          <p:spPr>
            <a:xfrm>
              <a:off x="681628" y="5820530"/>
              <a:ext cx="231262" cy="131697"/>
            </a:xfrm>
            <a:custGeom>
              <a:avLst/>
              <a:gdLst>
                <a:gd name="connsiteX0" fmla="*/ 99112 w 231262"/>
                <a:gd name="connsiteY0" fmla="*/ 18929 h 131697"/>
                <a:gd name="connsiteX1" fmla="*/ 211520 w 231262"/>
                <a:gd name="connsiteY1" fmla="*/ 108338 h 131697"/>
                <a:gd name="connsiteX2" fmla="*/ 231262 w 231262"/>
                <a:gd name="connsiteY2" fmla="*/ 131697 h 131697"/>
                <a:gd name="connsiteX3" fmla="*/ 102335 w 231262"/>
                <a:gd name="connsiteY3" fmla="*/ 131697 h 131697"/>
                <a:gd name="connsiteX4" fmla="*/ 51974 w 231262"/>
                <a:gd name="connsiteY4" fmla="*/ 74910 h 131697"/>
                <a:gd name="connsiteX5" fmla="*/ 36261 w 231262"/>
                <a:gd name="connsiteY5" fmla="*/ 88201 h 131697"/>
                <a:gd name="connsiteX6" fmla="*/ 0 w 231262"/>
                <a:gd name="connsiteY6" fmla="*/ 52357 h 131697"/>
                <a:gd name="connsiteX7" fmla="*/ 44721 w 231262"/>
                <a:gd name="connsiteY7" fmla="*/ 0 h 131697"/>
                <a:gd name="connsiteX8" fmla="*/ 99112 w 231262"/>
                <a:gd name="connsiteY8" fmla="*/ 18929 h 131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262" h="131697">
                  <a:moveTo>
                    <a:pt x="99112" y="18929"/>
                  </a:moveTo>
                  <a:cubicBezTo>
                    <a:pt x="99112" y="18929"/>
                    <a:pt x="99515" y="74508"/>
                    <a:pt x="211520" y="108338"/>
                  </a:cubicBezTo>
                  <a:cubicBezTo>
                    <a:pt x="234485" y="115184"/>
                    <a:pt x="227233" y="122031"/>
                    <a:pt x="231262" y="131697"/>
                  </a:cubicBezTo>
                  <a:lnTo>
                    <a:pt x="102335" y="131697"/>
                  </a:lnTo>
                  <a:lnTo>
                    <a:pt x="51974" y="74910"/>
                  </a:lnTo>
                  <a:lnTo>
                    <a:pt x="36261" y="88201"/>
                  </a:lnTo>
                  <a:lnTo>
                    <a:pt x="0" y="52357"/>
                  </a:lnTo>
                  <a:cubicBezTo>
                    <a:pt x="0" y="52357"/>
                    <a:pt x="16922" y="403"/>
                    <a:pt x="44721" y="0"/>
                  </a:cubicBezTo>
                  <a:cubicBezTo>
                    <a:pt x="67284" y="8055"/>
                    <a:pt x="99112" y="18929"/>
                    <a:pt x="99112" y="18929"/>
                  </a:cubicBezTo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4" name="Forme libre 343">
              <a:extLst>
                <a:ext uri="{FF2B5EF4-FFF2-40B4-BE49-F238E27FC236}">
                  <a16:creationId xmlns:a16="http://schemas.microsoft.com/office/drawing/2014/main" id="{A351B715-D905-CE41-8FB6-91E57838F980}"/>
                </a:ext>
              </a:extLst>
            </p:cNvPr>
            <p:cNvSpPr/>
            <p:nvPr/>
          </p:nvSpPr>
          <p:spPr>
            <a:xfrm>
              <a:off x="725946" y="5771395"/>
              <a:ext cx="75744" cy="69918"/>
            </a:xfrm>
            <a:custGeom>
              <a:avLst/>
              <a:gdLst>
                <a:gd name="connsiteX0" fmla="*/ 75744 w 75744"/>
                <a:gd name="connsiteY0" fmla="*/ 19735 h 69918"/>
                <a:gd name="connsiteX1" fmla="*/ 54794 w 75744"/>
                <a:gd name="connsiteY1" fmla="*/ 68064 h 69918"/>
                <a:gd name="connsiteX2" fmla="*/ 2417 w 75744"/>
                <a:gd name="connsiteY2" fmla="*/ 52357 h 69918"/>
                <a:gd name="connsiteX3" fmla="*/ 0 w 75744"/>
                <a:gd name="connsiteY3" fmla="*/ 49537 h 69918"/>
                <a:gd name="connsiteX4" fmla="*/ 16922 w 75744"/>
                <a:gd name="connsiteY4" fmla="*/ 0 h 69918"/>
                <a:gd name="connsiteX5" fmla="*/ 75744 w 75744"/>
                <a:gd name="connsiteY5" fmla="*/ 19735 h 6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744" h="69918">
                  <a:moveTo>
                    <a:pt x="75744" y="19735"/>
                  </a:moveTo>
                  <a:lnTo>
                    <a:pt x="54794" y="68064"/>
                  </a:lnTo>
                  <a:cubicBezTo>
                    <a:pt x="35858" y="73299"/>
                    <a:pt x="15310" y="67258"/>
                    <a:pt x="2417" y="52357"/>
                  </a:cubicBezTo>
                  <a:lnTo>
                    <a:pt x="0" y="49537"/>
                  </a:lnTo>
                  <a:lnTo>
                    <a:pt x="16922" y="0"/>
                  </a:lnTo>
                  <a:lnTo>
                    <a:pt x="75744" y="19735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5" name="Forme libre 344">
              <a:extLst>
                <a:ext uri="{FF2B5EF4-FFF2-40B4-BE49-F238E27FC236}">
                  <a16:creationId xmlns:a16="http://schemas.microsoft.com/office/drawing/2014/main" id="{645DE7C5-96D4-D34C-B460-B62CB669F6FC}"/>
                </a:ext>
              </a:extLst>
            </p:cNvPr>
            <p:cNvSpPr/>
            <p:nvPr/>
          </p:nvSpPr>
          <p:spPr>
            <a:xfrm>
              <a:off x="441099" y="3722908"/>
              <a:ext cx="320973" cy="372672"/>
            </a:xfrm>
            <a:custGeom>
              <a:avLst/>
              <a:gdLst>
                <a:gd name="connsiteX0" fmla="*/ 0 w 320973"/>
                <a:gd name="connsiteY0" fmla="*/ 347300 h 372672"/>
                <a:gd name="connsiteX1" fmla="*/ 257047 w 320973"/>
                <a:gd name="connsiteY1" fmla="*/ 135 h 372672"/>
                <a:gd name="connsiteX2" fmla="*/ 178483 w 320973"/>
                <a:gd name="connsiteY2" fmla="*/ 372672 h 372672"/>
                <a:gd name="connsiteX3" fmla="*/ 0 w 320973"/>
                <a:gd name="connsiteY3" fmla="*/ 347300 h 37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973" h="372672">
                  <a:moveTo>
                    <a:pt x="0" y="347300"/>
                  </a:moveTo>
                  <a:cubicBezTo>
                    <a:pt x="0" y="347300"/>
                    <a:pt x="76550" y="-7920"/>
                    <a:pt x="257047" y="135"/>
                  </a:cubicBezTo>
                  <a:cubicBezTo>
                    <a:pt x="437545" y="8190"/>
                    <a:pt x="178483" y="372672"/>
                    <a:pt x="178483" y="372672"/>
                  </a:cubicBezTo>
                  <a:lnTo>
                    <a:pt x="0" y="347300"/>
                  </a:lnTo>
                  <a:close/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6" name="Forme libre 345">
              <a:extLst>
                <a:ext uri="{FF2B5EF4-FFF2-40B4-BE49-F238E27FC236}">
                  <a16:creationId xmlns:a16="http://schemas.microsoft.com/office/drawing/2014/main" id="{0A32CAAB-550D-1A4B-91C4-494093D3E13E}"/>
                </a:ext>
              </a:extLst>
            </p:cNvPr>
            <p:cNvSpPr/>
            <p:nvPr/>
          </p:nvSpPr>
          <p:spPr>
            <a:xfrm>
              <a:off x="854873" y="3765734"/>
              <a:ext cx="195297" cy="574429"/>
            </a:xfrm>
            <a:custGeom>
              <a:avLst/>
              <a:gdLst>
                <a:gd name="connsiteX0" fmla="*/ 163173 w 195297"/>
                <a:gd name="connsiteY0" fmla="*/ 569076 h 574429"/>
                <a:gd name="connsiteX1" fmla="*/ 53988 w 195297"/>
                <a:gd name="connsiteY1" fmla="*/ 0 h 574429"/>
                <a:gd name="connsiteX2" fmla="*/ 0 w 195297"/>
                <a:gd name="connsiteY2" fmla="*/ 5236 h 574429"/>
                <a:gd name="connsiteX3" fmla="*/ 163173 w 195297"/>
                <a:gd name="connsiteY3" fmla="*/ 569076 h 574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297" h="574429">
                  <a:moveTo>
                    <a:pt x="163173" y="569076"/>
                  </a:moveTo>
                  <a:cubicBezTo>
                    <a:pt x="276386" y="477654"/>
                    <a:pt x="53988" y="0"/>
                    <a:pt x="53988" y="0"/>
                  </a:cubicBezTo>
                  <a:lnTo>
                    <a:pt x="0" y="5236"/>
                  </a:lnTo>
                  <a:cubicBezTo>
                    <a:pt x="0" y="5236"/>
                    <a:pt x="4432" y="638751"/>
                    <a:pt x="163173" y="569076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7" name="Forme libre 346">
              <a:extLst>
                <a:ext uri="{FF2B5EF4-FFF2-40B4-BE49-F238E27FC236}">
                  <a16:creationId xmlns:a16="http://schemas.microsoft.com/office/drawing/2014/main" id="{A5CF4CF2-E718-2841-8773-394E7C645CC8}"/>
                </a:ext>
              </a:extLst>
            </p:cNvPr>
            <p:cNvSpPr/>
            <p:nvPr/>
          </p:nvSpPr>
          <p:spPr>
            <a:xfrm>
              <a:off x="698147" y="3674714"/>
              <a:ext cx="129329" cy="53162"/>
            </a:xfrm>
            <a:custGeom>
              <a:avLst/>
              <a:gdLst>
                <a:gd name="connsiteX0" fmla="*/ 129330 w 129329"/>
                <a:gd name="connsiteY0" fmla="*/ 53162 h 53162"/>
                <a:gd name="connsiteX1" fmla="*/ 122480 w 129329"/>
                <a:gd name="connsiteY1" fmla="*/ 18123 h 53162"/>
                <a:gd name="connsiteX2" fmla="*/ 29814 w 129329"/>
                <a:gd name="connsiteY2" fmla="*/ 0 h 53162"/>
                <a:gd name="connsiteX3" fmla="*/ 0 w 129329"/>
                <a:gd name="connsiteY3" fmla="*/ 36650 h 53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329" h="53162">
                  <a:moveTo>
                    <a:pt x="129330" y="53162"/>
                  </a:moveTo>
                  <a:lnTo>
                    <a:pt x="122480" y="18123"/>
                  </a:lnTo>
                  <a:lnTo>
                    <a:pt x="29814" y="0"/>
                  </a:lnTo>
                  <a:lnTo>
                    <a:pt x="0" y="36650"/>
                  </a:lnTo>
                  <a:close/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8" name="Forme libre 347">
              <a:extLst>
                <a:ext uri="{FF2B5EF4-FFF2-40B4-BE49-F238E27FC236}">
                  <a16:creationId xmlns:a16="http://schemas.microsoft.com/office/drawing/2014/main" id="{F8454838-E657-E745-ADA0-E2EB6442F1FD}"/>
                </a:ext>
              </a:extLst>
            </p:cNvPr>
            <p:cNvSpPr/>
            <p:nvPr/>
          </p:nvSpPr>
          <p:spPr>
            <a:xfrm>
              <a:off x="824586" y="3620432"/>
              <a:ext cx="91124" cy="150537"/>
            </a:xfrm>
            <a:custGeom>
              <a:avLst/>
              <a:gdLst>
                <a:gd name="connsiteX0" fmla="*/ 84275 w 91124"/>
                <a:gd name="connsiteY0" fmla="*/ 145302 h 150537"/>
                <a:gd name="connsiteX1" fmla="*/ 91124 w 91124"/>
                <a:gd name="connsiteY1" fmla="*/ 54282 h 150537"/>
                <a:gd name="connsiteX2" fmla="*/ 2487 w 91124"/>
                <a:gd name="connsiteY2" fmla="*/ 3133 h 150537"/>
                <a:gd name="connsiteX3" fmla="*/ 8530 w 91124"/>
                <a:gd name="connsiteY3" fmla="*/ 60726 h 150537"/>
                <a:gd name="connsiteX4" fmla="*/ 30287 w 91124"/>
                <a:gd name="connsiteY4" fmla="*/ 150538 h 150537"/>
                <a:gd name="connsiteX5" fmla="*/ 84275 w 91124"/>
                <a:gd name="connsiteY5" fmla="*/ 145302 h 15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124" h="150537">
                  <a:moveTo>
                    <a:pt x="84275" y="145302"/>
                  </a:moveTo>
                  <a:lnTo>
                    <a:pt x="91124" y="54282"/>
                  </a:lnTo>
                  <a:cubicBezTo>
                    <a:pt x="91124" y="54282"/>
                    <a:pt x="45597" y="-15393"/>
                    <a:pt x="2487" y="3133"/>
                  </a:cubicBezTo>
                  <a:cubicBezTo>
                    <a:pt x="-5571" y="22062"/>
                    <a:pt x="8530" y="60726"/>
                    <a:pt x="8530" y="60726"/>
                  </a:cubicBezTo>
                  <a:lnTo>
                    <a:pt x="30287" y="150538"/>
                  </a:lnTo>
                  <a:lnTo>
                    <a:pt x="84275" y="145302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9" name="Forme libre 348">
              <a:extLst>
                <a:ext uri="{FF2B5EF4-FFF2-40B4-BE49-F238E27FC236}">
                  <a16:creationId xmlns:a16="http://schemas.microsoft.com/office/drawing/2014/main" id="{84F74D84-E5E4-FA48-9038-6060FBCCD09D}"/>
                </a:ext>
              </a:extLst>
            </p:cNvPr>
            <p:cNvSpPr/>
            <p:nvPr/>
          </p:nvSpPr>
          <p:spPr>
            <a:xfrm>
              <a:off x="691297" y="4534973"/>
              <a:ext cx="333116" cy="1275488"/>
            </a:xfrm>
            <a:custGeom>
              <a:avLst/>
              <a:gdLst>
                <a:gd name="connsiteX0" fmla="*/ 281221 w 333116"/>
                <a:gd name="connsiteY0" fmla="*/ 0 h 1275488"/>
                <a:gd name="connsiteX1" fmla="*/ 330777 w 333116"/>
                <a:gd name="connsiteY1" fmla="*/ 595255 h 1275488"/>
                <a:gd name="connsiteX2" fmla="*/ 109185 w 333116"/>
                <a:gd name="connsiteY2" fmla="*/ 1275488 h 1275488"/>
                <a:gd name="connsiteX3" fmla="*/ 19339 w 333116"/>
                <a:gd name="connsiteY3" fmla="*/ 1249310 h 1275488"/>
                <a:gd name="connsiteX4" fmla="*/ 100724 w 333116"/>
                <a:gd name="connsiteY4" fmla="*/ 704398 h 1275488"/>
                <a:gd name="connsiteX5" fmla="*/ 100724 w 333116"/>
                <a:gd name="connsiteY5" fmla="*/ 556189 h 1275488"/>
                <a:gd name="connsiteX6" fmla="*/ 0 w 333116"/>
                <a:gd name="connsiteY6" fmla="*/ 244063 h 1275488"/>
                <a:gd name="connsiteX7" fmla="*/ 6849 w 333116"/>
                <a:gd name="connsiteY7" fmla="*/ 403 h 1275488"/>
                <a:gd name="connsiteX8" fmla="*/ 281221 w 333116"/>
                <a:gd name="connsiteY8" fmla="*/ 403 h 1275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116" h="1275488">
                  <a:moveTo>
                    <a:pt x="281221" y="0"/>
                  </a:moveTo>
                  <a:cubicBezTo>
                    <a:pt x="281221" y="0"/>
                    <a:pt x="346087" y="407174"/>
                    <a:pt x="330777" y="595255"/>
                  </a:cubicBezTo>
                  <a:cubicBezTo>
                    <a:pt x="315467" y="783336"/>
                    <a:pt x="109185" y="1275488"/>
                    <a:pt x="109185" y="1275488"/>
                  </a:cubicBezTo>
                  <a:lnTo>
                    <a:pt x="19339" y="1249310"/>
                  </a:lnTo>
                  <a:cubicBezTo>
                    <a:pt x="19339" y="1249310"/>
                    <a:pt x="12490" y="920268"/>
                    <a:pt x="100724" y="704398"/>
                  </a:cubicBezTo>
                  <a:cubicBezTo>
                    <a:pt x="120063" y="656874"/>
                    <a:pt x="119257" y="603712"/>
                    <a:pt x="100724" y="556189"/>
                  </a:cubicBezTo>
                  <a:cubicBezTo>
                    <a:pt x="28203" y="368510"/>
                    <a:pt x="0" y="244063"/>
                    <a:pt x="0" y="244063"/>
                  </a:cubicBezTo>
                  <a:lnTo>
                    <a:pt x="6849" y="403"/>
                  </a:lnTo>
                  <a:lnTo>
                    <a:pt x="281221" y="403"/>
                  </a:lnTo>
                  <a:close/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0" name="Forme libre 349">
              <a:extLst>
                <a:ext uri="{FF2B5EF4-FFF2-40B4-BE49-F238E27FC236}">
                  <a16:creationId xmlns:a16="http://schemas.microsoft.com/office/drawing/2014/main" id="{587F2FC5-8EA3-AF46-81A0-22B7DF974E44}"/>
                </a:ext>
              </a:extLst>
            </p:cNvPr>
            <p:cNvSpPr/>
            <p:nvPr/>
          </p:nvSpPr>
          <p:spPr>
            <a:xfrm>
              <a:off x="820668" y="3616409"/>
              <a:ext cx="99877" cy="154157"/>
            </a:xfrm>
            <a:custGeom>
              <a:avLst/>
              <a:gdLst>
                <a:gd name="connsiteX0" fmla="*/ 82553 w 99877"/>
                <a:gd name="connsiteY0" fmla="*/ 145297 h 154157"/>
                <a:gd name="connsiteX1" fmla="*/ 84164 w 99877"/>
                <a:gd name="connsiteY1" fmla="*/ 145297 h 154157"/>
                <a:gd name="connsiteX2" fmla="*/ 90611 w 99877"/>
                <a:gd name="connsiteY2" fmla="*/ 59512 h 154157"/>
                <a:gd name="connsiteX3" fmla="*/ 10031 w 99877"/>
                <a:gd name="connsiteY3" fmla="*/ 10781 h 154157"/>
                <a:gd name="connsiteX4" fmla="*/ 16881 w 99877"/>
                <a:gd name="connsiteY4" fmla="*/ 63943 h 154157"/>
                <a:gd name="connsiteX5" fmla="*/ 17283 w 99877"/>
                <a:gd name="connsiteY5" fmla="*/ 65151 h 154157"/>
                <a:gd name="connsiteX6" fmla="*/ 7614 w 99877"/>
                <a:gd name="connsiteY6" fmla="*/ 63540 h 154157"/>
                <a:gd name="connsiteX7" fmla="*/ 2779 w 99877"/>
                <a:gd name="connsiteY7" fmla="*/ 5948 h 154157"/>
                <a:gd name="connsiteX8" fmla="*/ 3585 w 99877"/>
                <a:gd name="connsiteY8" fmla="*/ 4337 h 154157"/>
                <a:gd name="connsiteX9" fmla="*/ 5197 w 99877"/>
                <a:gd name="connsiteY9" fmla="*/ 3531 h 154157"/>
                <a:gd name="connsiteX10" fmla="*/ 99071 w 99877"/>
                <a:gd name="connsiteY10" fmla="*/ 56291 h 154157"/>
                <a:gd name="connsiteX11" fmla="*/ 99877 w 99877"/>
                <a:gd name="connsiteY11" fmla="*/ 57499 h 154157"/>
                <a:gd name="connsiteX12" fmla="*/ 92625 w 99877"/>
                <a:gd name="connsiteY12" fmla="*/ 153754 h 154157"/>
                <a:gd name="connsiteX13" fmla="*/ 87387 w 99877"/>
                <a:gd name="connsiteY13" fmla="*/ 154157 h 154157"/>
                <a:gd name="connsiteX14" fmla="*/ 82553 w 99877"/>
                <a:gd name="connsiteY14" fmla="*/ 145297 h 154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877" h="154157">
                  <a:moveTo>
                    <a:pt x="82553" y="145297"/>
                  </a:moveTo>
                  <a:lnTo>
                    <a:pt x="84164" y="145297"/>
                  </a:lnTo>
                  <a:lnTo>
                    <a:pt x="90611" y="59512"/>
                  </a:lnTo>
                  <a:cubicBezTo>
                    <a:pt x="84567" y="50652"/>
                    <a:pt x="45889" y="-2913"/>
                    <a:pt x="10031" y="10781"/>
                  </a:cubicBezTo>
                  <a:cubicBezTo>
                    <a:pt x="5197" y="25682"/>
                    <a:pt x="12852" y="53874"/>
                    <a:pt x="16881" y="63943"/>
                  </a:cubicBezTo>
                  <a:lnTo>
                    <a:pt x="17283" y="65151"/>
                  </a:lnTo>
                  <a:cubicBezTo>
                    <a:pt x="14060" y="64345"/>
                    <a:pt x="11240" y="63943"/>
                    <a:pt x="7614" y="63540"/>
                  </a:cubicBezTo>
                  <a:cubicBezTo>
                    <a:pt x="4391" y="53874"/>
                    <a:pt x="-4473" y="23266"/>
                    <a:pt x="2779" y="5948"/>
                  </a:cubicBezTo>
                  <a:lnTo>
                    <a:pt x="3585" y="4337"/>
                  </a:lnTo>
                  <a:lnTo>
                    <a:pt x="5197" y="3531"/>
                  </a:lnTo>
                  <a:cubicBezTo>
                    <a:pt x="51127" y="-16203"/>
                    <a:pt x="97057" y="53069"/>
                    <a:pt x="99071" y="56291"/>
                  </a:cubicBezTo>
                  <a:lnTo>
                    <a:pt x="99877" y="57499"/>
                  </a:lnTo>
                  <a:lnTo>
                    <a:pt x="92625" y="153754"/>
                  </a:lnTo>
                  <a:lnTo>
                    <a:pt x="87387" y="154157"/>
                  </a:lnTo>
                  <a:cubicBezTo>
                    <a:pt x="85776" y="150935"/>
                    <a:pt x="84164" y="148116"/>
                    <a:pt x="82553" y="145297"/>
                  </a:cubicBezTo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1" name="Forme libre 350">
              <a:extLst>
                <a:ext uri="{FF2B5EF4-FFF2-40B4-BE49-F238E27FC236}">
                  <a16:creationId xmlns:a16="http://schemas.microsoft.com/office/drawing/2014/main" id="{2C87B7A7-81A9-F541-9C35-BFEAB7D7E4EF}"/>
                </a:ext>
              </a:extLst>
            </p:cNvPr>
            <p:cNvSpPr/>
            <p:nvPr/>
          </p:nvSpPr>
          <p:spPr>
            <a:xfrm>
              <a:off x="522328" y="5869262"/>
              <a:ext cx="257203" cy="92228"/>
            </a:xfrm>
            <a:custGeom>
              <a:avLst/>
              <a:gdLst>
                <a:gd name="connsiteX0" fmla="*/ 83555 w 257203"/>
                <a:gd name="connsiteY0" fmla="*/ 0 h 92228"/>
                <a:gd name="connsiteX1" fmla="*/ 215302 w 257203"/>
                <a:gd name="connsiteY1" fmla="*/ 60814 h 92228"/>
                <a:gd name="connsiteX2" fmla="*/ 257203 w 257203"/>
                <a:gd name="connsiteY2" fmla="*/ 92228 h 92228"/>
                <a:gd name="connsiteX3" fmla="*/ 146004 w 257203"/>
                <a:gd name="connsiteY3" fmla="*/ 92228 h 92228"/>
                <a:gd name="connsiteX4" fmla="*/ 53338 w 257203"/>
                <a:gd name="connsiteY4" fmla="*/ 76119 h 92228"/>
                <a:gd name="connsiteX5" fmla="*/ 53338 w 257203"/>
                <a:gd name="connsiteY5" fmla="*/ 92228 h 92228"/>
                <a:gd name="connsiteX6" fmla="*/ 3379 w 257203"/>
                <a:gd name="connsiteY6" fmla="*/ 92228 h 92228"/>
                <a:gd name="connsiteX7" fmla="*/ 18689 w 257203"/>
                <a:gd name="connsiteY7" fmla="*/ 0 h 92228"/>
                <a:gd name="connsiteX8" fmla="*/ 83555 w 257203"/>
                <a:gd name="connsiteY8" fmla="*/ 0 h 9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203" h="92228">
                  <a:moveTo>
                    <a:pt x="83555" y="0"/>
                  </a:moveTo>
                  <a:cubicBezTo>
                    <a:pt x="83555" y="0"/>
                    <a:pt x="123845" y="37455"/>
                    <a:pt x="215302" y="60814"/>
                  </a:cubicBezTo>
                  <a:cubicBezTo>
                    <a:pt x="235447" y="66050"/>
                    <a:pt x="257203" y="59203"/>
                    <a:pt x="257203" y="92228"/>
                  </a:cubicBezTo>
                  <a:lnTo>
                    <a:pt x="146004" y="92228"/>
                  </a:lnTo>
                  <a:lnTo>
                    <a:pt x="53338" y="76119"/>
                  </a:lnTo>
                  <a:lnTo>
                    <a:pt x="53338" y="92228"/>
                  </a:lnTo>
                  <a:lnTo>
                    <a:pt x="3379" y="92228"/>
                  </a:lnTo>
                  <a:cubicBezTo>
                    <a:pt x="3379" y="92228"/>
                    <a:pt x="-10722" y="10471"/>
                    <a:pt x="18689" y="0"/>
                  </a:cubicBezTo>
                  <a:lnTo>
                    <a:pt x="83555" y="0"/>
                  </a:lnTo>
                  <a:close/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2" name="Forme libre 351">
              <a:extLst>
                <a:ext uri="{FF2B5EF4-FFF2-40B4-BE49-F238E27FC236}">
                  <a16:creationId xmlns:a16="http://schemas.microsoft.com/office/drawing/2014/main" id="{8390DD4B-C095-4240-A957-F7AD535A4FBE}"/>
                </a:ext>
              </a:extLst>
            </p:cNvPr>
            <p:cNvSpPr/>
            <p:nvPr/>
          </p:nvSpPr>
          <p:spPr>
            <a:xfrm>
              <a:off x="541017" y="5810461"/>
              <a:ext cx="64463" cy="68749"/>
            </a:xfrm>
            <a:custGeom>
              <a:avLst/>
              <a:gdLst>
                <a:gd name="connsiteX0" fmla="*/ 54794 w 64463"/>
                <a:gd name="connsiteY0" fmla="*/ 0 h 68749"/>
                <a:gd name="connsiteX1" fmla="*/ 64463 w 64463"/>
                <a:gd name="connsiteY1" fmla="*/ 58800 h 68749"/>
                <a:gd name="connsiteX2" fmla="*/ 3223 w 64463"/>
                <a:gd name="connsiteY2" fmla="*/ 60814 h 68749"/>
                <a:gd name="connsiteX3" fmla="*/ 0 w 64463"/>
                <a:gd name="connsiteY3" fmla="*/ 58800 h 68749"/>
                <a:gd name="connsiteX4" fmla="*/ 4835 w 64463"/>
                <a:gd name="connsiteY4" fmla="*/ 0 h 68749"/>
                <a:gd name="connsiteX5" fmla="*/ 54794 w 64463"/>
                <a:gd name="connsiteY5" fmla="*/ 0 h 6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4463" h="68749">
                  <a:moveTo>
                    <a:pt x="54794" y="0"/>
                  </a:moveTo>
                  <a:lnTo>
                    <a:pt x="64463" y="58800"/>
                  </a:lnTo>
                  <a:cubicBezTo>
                    <a:pt x="46333" y="71286"/>
                    <a:pt x="22159" y="72091"/>
                    <a:pt x="3223" y="60814"/>
                  </a:cubicBezTo>
                  <a:lnTo>
                    <a:pt x="0" y="58800"/>
                  </a:lnTo>
                  <a:lnTo>
                    <a:pt x="4835" y="0"/>
                  </a:lnTo>
                  <a:lnTo>
                    <a:pt x="54794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3" name="Forme libre 352">
              <a:extLst>
                <a:ext uri="{FF2B5EF4-FFF2-40B4-BE49-F238E27FC236}">
                  <a16:creationId xmlns:a16="http://schemas.microsoft.com/office/drawing/2014/main" id="{9DA632A9-C911-714E-B549-4B20BA53A596}"/>
                </a:ext>
              </a:extLst>
            </p:cNvPr>
            <p:cNvSpPr/>
            <p:nvPr/>
          </p:nvSpPr>
          <p:spPr>
            <a:xfrm>
              <a:off x="491452" y="4534973"/>
              <a:ext cx="343679" cy="1292805"/>
            </a:xfrm>
            <a:custGeom>
              <a:avLst/>
              <a:gdLst>
                <a:gd name="connsiteX0" fmla="*/ 343679 w 343679"/>
                <a:gd name="connsiteY0" fmla="*/ 0 h 1292805"/>
                <a:gd name="connsiteX1" fmla="*/ 127727 w 343679"/>
                <a:gd name="connsiteY1" fmla="*/ 1292806 h 1292805"/>
                <a:gd name="connsiteX2" fmla="*/ 41105 w 343679"/>
                <a:gd name="connsiteY2" fmla="*/ 1292806 h 1292805"/>
                <a:gd name="connsiteX3" fmla="*/ 24183 w 343679"/>
                <a:gd name="connsiteY3" fmla="*/ 663318 h 1292805"/>
                <a:gd name="connsiteX4" fmla="*/ 28212 w 343679"/>
                <a:gd name="connsiteY4" fmla="*/ 515109 h 1292805"/>
                <a:gd name="connsiteX5" fmla="*/ 15319 w 343679"/>
                <a:gd name="connsiteY5" fmla="*/ 0 h 1292805"/>
                <a:gd name="connsiteX6" fmla="*/ 343679 w 343679"/>
                <a:gd name="connsiteY6" fmla="*/ 0 h 1292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3679" h="1292805">
                  <a:moveTo>
                    <a:pt x="343679" y="0"/>
                  </a:moveTo>
                  <a:lnTo>
                    <a:pt x="127727" y="1292806"/>
                  </a:lnTo>
                  <a:lnTo>
                    <a:pt x="41105" y="1292806"/>
                  </a:lnTo>
                  <a:cubicBezTo>
                    <a:pt x="41105" y="1292806"/>
                    <a:pt x="-33431" y="944433"/>
                    <a:pt x="24183" y="663318"/>
                  </a:cubicBezTo>
                  <a:cubicBezTo>
                    <a:pt x="34255" y="614586"/>
                    <a:pt x="35464" y="564244"/>
                    <a:pt x="28212" y="515109"/>
                  </a:cubicBezTo>
                  <a:cubicBezTo>
                    <a:pt x="-26582" y="151834"/>
                    <a:pt x="15319" y="0"/>
                    <a:pt x="15319" y="0"/>
                  </a:cubicBezTo>
                  <a:lnTo>
                    <a:pt x="343679" y="0"/>
                  </a:lnTo>
                  <a:close/>
                </a:path>
              </a:pathLst>
            </a:custGeom>
            <a:solidFill>
              <a:srgbClr val="043C5E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4" name="Forme libre 353">
              <a:extLst>
                <a:ext uri="{FF2B5EF4-FFF2-40B4-BE49-F238E27FC236}">
                  <a16:creationId xmlns:a16="http://schemas.microsoft.com/office/drawing/2014/main" id="{B27C9148-274D-CD40-ABEE-686FC8A8516E}"/>
                </a:ext>
              </a:extLst>
            </p:cNvPr>
            <p:cNvSpPr/>
            <p:nvPr/>
          </p:nvSpPr>
          <p:spPr>
            <a:xfrm>
              <a:off x="2163881" y="3880113"/>
              <a:ext cx="135775" cy="224328"/>
            </a:xfrm>
            <a:custGeom>
              <a:avLst/>
              <a:gdLst>
                <a:gd name="connsiteX0" fmla="*/ 115228 w 135775"/>
                <a:gd name="connsiteY0" fmla="*/ 7249 h 224328"/>
                <a:gd name="connsiteX1" fmla="*/ 0 w 135775"/>
                <a:gd name="connsiteY1" fmla="*/ 224328 h 224328"/>
                <a:gd name="connsiteX2" fmla="*/ 126912 w 135775"/>
                <a:gd name="connsiteY2" fmla="*/ 218287 h 224328"/>
                <a:gd name="connsiteX3" fmla="*/ 135776 w 135775"/>
                <a:gd name="connsiteY3" fmla="*/ 0 h 224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75" h="224328">
                  <a:moveTo>
                    <a:pt x="115228" y="7249"/>
                  </a:moveTo>
                  <a:lnTo>
                    <a:pt x="0" y="224328"/>
                  </a:lnTo>
                  <a:lnTo>
                    <a:pt x="126912" y="218287"/>
                  </a:lnTo>
                  <a:lnTo>
                    <a:pt x="135776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5" name="Forme libre 354">
              <a:extLst>
                <a:ext uri="{FF2B5EF4-FFF2-40B4-BE49-F238E27FC236}">
                  <a16:creationId xmlns:a16="http://schemas.microsoft.com/office/drawing/2014/main" id="{26F5110A-D5B7-FA40-8D74-CBD4221D223A}"/>
                </a:ext>
              </a:extLst>
            </p:cNvPr>
            <p:cNvSpPr/>
            <p:nvPr/>
          </p:nvSpPr>
          <p:spPr>
            <a:xfrm>
              <a:off x="2309729" y="3790704"/>
              <a:ext cx="190972" cy="688691"/>
            </a:xfrm>
            <a:custGeom>
              <a:avLst/>
              <a:gdLst>
                <a:gd name="connsiteX0" fmla="*/ 150683 w 190972"/>
                <a:gd name="connsiteY0" fmla="*/ 403 h 688691"/>
                <a:gd name="connsiteX1" fmla="*/ 43916 w 190972"/>
                <a:gd name="connsiteY1" fmla="*/ 0 h 688691"/>
                <a:gd name="connsiteX2" fmla="*/ 0 w 190972"/>
                <a:gd name="connsiteY2" fmla="*/ 688691 h 688691"/>
                <a:gd name="connsiteX3" fmla="*/ 190972 w 190972"/>
                <a:gd name="connsiteY3" fmla="*/ 688691 h 688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972" h="688691">
                  <a:moveTo>
                    <a:pt x="150683" y="403"/>
                  </a:moveTo>
                  <a:lnTo>
                    <a:pt x="43916" y="0"/>
                  </a:lnTo>
                  <a:lnTo>
                    <a:pt x="0" y="688691"/>
                  </a:lnTo>
                  <a:lnTo>
                    <a:pt x="190972" y="688691"/>
                  </a:lnTo>
                  <a:close/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6" name="Forme libre 355">
              <a:extLst>
                <a:ext uri="{FF2B5EF4-FFF2-40B4-BE49-F238E27FC236}">
                  <a16:creationId xmlns:a16="http://schemas.microsoft.com/office/drawing/2014/main" id="{5E1960D6-48E8-B747-8245-1F6F51DCE3B4}"/>
                </a:ext>
              </a:extLst>
            </p:cNvPr>
            <p:cNvSpPr/>
            <p:nvPr/>
          </p:nvSpPr>
          <p:spPr>
            <a:xfrm>
              <a:off x="2427440" y="5812475"/>
              <a:ext cx="250325" cy="135321"/>
            </a:xfrm>
            <a:custGeom>
              <a:avLst/>
              <a:gdLst>
                <a:gd name="connsiteX0" fmla="*/ 228376 w 250325"/>
                <a:gd name="connsiteY0" fmla="*/ 0 h 135321"/>
                <a:gd name="connsiteX1" fmla="*/ 249730 w 250325"/>
                <a:gd name="connsiteY1" fmla="*/ 47121 h 135321"/>
                <a:gd name="connsiteX2" fmla="*/ 238046 w 250325"/>
                <a:gd name="connsiteY2" fmla="*/ 135322 h 135321"/>
                <a:gd name="connsiteX3" fmla="*/ 211052 w 250325"/>
                <a:gd name="connsiteY3" fmla="*/ 135322 h 135321"/>
                <a:gd name="connsiteX4" fmla="*/ 211858 w 250325"/>
                <a:gd name="connsiteY4" fmla="*/ 77729 h 135321"/>
                <a:gd name="connsiteX5" fmla="*/ 143768 w 250325"/>
                <a:gd name="connsiteY5" fmla="*/ 135322 h 135321"/>
                <a:gd name="connsiteX6" fmla="*/ 337 w 250325"/>
                <a:gd name="connsiteY6" fmla="*/ 135322 h 135321"/>
                <a:gd name="connsiteX7" fmla="*/ 74873 w 250325"/>
                <a:gd name="connsiteY7" fmla="*/ 84173 h 135321"/>
                <a:gd name="connsiteX8" fmla="*/ 228376 w 250325"/>
                <a:gd name="connsiteY8" fmla="*/ 0 h 13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0325" h="135321">
                  <a:moveTo>
                    <a:pt x="228376" y="0"/>
                  </a:moveTo>
                  <a:cubicBezTo>
                    <a:pt x="228376" y="0"/>
                    <a:pt x="254564" y="20540"/>
                    <a:pt x="249730" y="47121"/>
                  </a:cubicBezTo>
                  <a:cubicBezTo>
                    <a:pt x="244895" y="73702"/>
                    <a:pt x="238046" y="135322"/>
                    <a:pt x="238046" y="135322"/>
                  </a:cubicBezTo>
                  <a:lnTo>
                    <a:pt x="211052" y="135322"/>
                  </a:lnTo>
                  <a:lnTo>
                    <a:pt x="211858" y="77729"/>
                  </a:lnTo>
                  <a:cubicBezTo>
                    <a:pt x="211858" y="74105"/>
                    <a:pt x="153840" y="135322"/>
                    <a:pt x="143768" y="135322"/>
                  </a:cubicBezTo>
                  <a:lnTo>
                    <a:pt x="337" y="135322"/>
                  </a:lnTo>
                  <a:cubicBezTo>
                    <a:pt x="337" y="135322"/>
                    <a:pt x="-9332" y="96658"/>
                    <a:pt x="74873" y="84173"/>
                  </a:cubicBezTo>
                  <a:cubicBezTo>
                    <a:pt x="159481" y="71286"/>
                    <a:pt x="228376" y="0"/>
                    <a:pt x="228376" y="0"/>
                  </a:cubicBezTo>
                </a:path>
              </a:pathLst>
            </a:custGeom>
            <a:solidFill>
              <a:srgbClr val="043C5E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7" name="Forme libre 356">
              <a:extLst>
                <a:ext uri="{FF2B5EF4-FFF2-40B4-BE49-F238E27FC236}">
                  <a16:creationId xmlns:a16="http://schemas.microsoft.com/office/drawing/2014/main" id="{BFC5FC2C-80A1-124A-902B-845E8123D0FE}"/>
                </a:ext>
              </a:extLst>
            </p:cNvPr>
            <p:cNvSpPr/>
            <p:nvPr/>
          </p:nvSpPr>
          <p:spPr>
            <a:xfrm>
              <a:off x="2480960" y="5785089"/>
              <a:ext cx="178885" cy="128517"/>
            </a:xfrm>
            <a:custGeom>
              <a:avLst/>
              <a:gdLst>
                <a:gd name="connsiteX0" fmla="*/ 112811 w 178885"/>
                <a:gd name="connsiteY0" fmla="*/ 806 h 128517"/>
                <a:gd name="connsiteX1" fmla="*/ 93472 w 178885"/>
                <a:gd name="connsiteY1" fmla="*/ 51148 h 128517"/>
                <a:gd name="connsiteX2" fmla="*/ 66881 w 178885"/>
                <a:gd name="connsiteY2" fmla="*/ 84576 h 128517"/>
                <a:gd name="connsiteX3" fmla="*/ 0 w 178885"/>
                <a:gd name="connsiteY3" fmla="*/ 114782 h 128517"/>
                <a:gd name="connsiteX4" fmla="*/ 136179 w 178885"/>
                <a:gd name="connsiteY4" fmla="*/ 88604 h 128517"/>
                <a:gd name="connsiteX5" fmla="*/ 170828 w 178885"/>
                <a:gd name="connsiteY5" fmla="*/ 38261 h 128517"/>
                <a:gd name="connsiteX6" fmla="*/ 178886 w 178885"/>
                <a:gd name="connsiteY6" fmla="*/ 0 h 128517"/>
                <a:gd name="connsiteX7" fmla="*/ 112811 w 178885"/>
                <a:gd name="connsiteY7" fmla="*/ 0 h 12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885" h="128517">
                  <a:moveTo>
                    <a:pt x="112811" y="806"/>
                  </a:moveTo>
                  <a:lnTo>
                    <a:pt x="93472" y="51148"/>
                  </a:lnTo>
                  <a:cubicBezTo>
                    <a:pt x="88637" y="65244"/>
                    <a:pt x="79370" y="76924"/>
                    <a:pt x="66881" y="84576"/>
                  </a:cubicBezTo>
                  <a:cubicBezTo>
                    <a:pt x="53182" y="93436"/>
                    <a:pt x="31829" y="105519"/>
                    <a:pt x="0" y="114782"/>
                  </a:cubicBezTo>
                  <a:cubicBezTo>
                    <a:pt x="39081" y="148209"/>
                    <a:pt x="101127" y="113171"/>
                    <a:pt x="136179" y="88604"/>
                  </a:cubicBezTo>
                  <a:cubicBezTo>
                    <a:pt x="153503" y="76521"/>
                    <a:pt x="165590" y="58800"/>
                    <a:pt x="170828" y="38261"/>
                  </a:cubicBezTo>
                  <a:lnTo>
                    <a:pt x="178886" y="0"/>
                  </a:lnTo>
                  <a:lnTo>
                    <a:pt x="112811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8" name="Forme libre 357">
              <a:extLst>
                <a:ext uri="{FF2B5EF4-FFF2-40B4-BE49-F238E27FC236}">
                  <a16:creationId xmlns:a16="http://schemas.microsoft.com/office/drawing/2014/main" id="{A5DA2E98-D7EC-874F-AAC2-50C83C845DB5}"/>
                </a:ext>
              </a:extLst>
            </p:cNvPr>
            <p:cNvSpPr/>
            <p:nvPr/>
          </p:nvSpPr>
          <p:spPr>
            <a:xfrm>
              <a:off x="2154680" y="5812475"/>
              <a:ext cx="250325" cy="135321"/>
            </a:xfrm>
            <a:custGeom>
              <a:avLst/>
              <a:gdLst>
                <a:gd name="connsiteX0" fmla="*/ 228376 w 250325"/>
                <a:gd name="connsiteY0" fmla="*/ 0 h 135321"/>
                <a:gd name="connsiteX1" fmla="*/ 249730 w 250325"/>
                <a:gd name="connsiteY1" fmla="*/ 47121 h 135321"/>
                <a:gd name="connsiteX2" fmla="*/ 238046 w 250325"/>
                <a:gd name="connsiteY2" fmla="*/ 135322 h 135321"/>
                <a:gd name="connsiteX3" fmla="*/ 211052 w 250325"/>
                <a:gd name="connsiteY3" fmla="*/ 135322 h 135321"/>
                <a:gd name="connsiteX4" fmla="*/ 211858 w 250325"/>
                <a:gd name="connsiteY4" fmla="*/ 77729 h 135321"/>
                <a:gd name="connsiteX5" fmla="*/ 143768 w 250325"/>
                <a:gd name="connsiteY5" fmla="*/ 135322 h 135321"/>
                <a:gd name="connsiteX6" fmla="*/ 337 w 250325"/>
                <a:gd name="connsiteY6" fmla="*/ 135322 h 135321"/>
                <a:gd name="connsiteX7" fmla="*/ 74873 w 250325"/>
                <a:gd name="connsiteY7" fmla="*/ 84173 h 135321"/>
                <a:gd name="connsiteX8" fmla="*/ 228376 w 250325"/>
                <a:gd name="connsiteY8" fmla="*/ 0 h 13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0325" h="135321">
                  <a:moveTo>
                    <a:pt x="228376" y="0"/>
                  </a:moveTo>
                  <a:cubicBezTo>
                    <a:pt x="228376" y="0"/>
                    <a:pt x="254565" y="20540"/>
                    <a:pt x="249730" y="47121"/>
                  </a:cubicBezTo>
                  <a:cubicBezTo>
                    <a:pt x="244895" y="73702"/>
                    <a:pt x="238046" y="135322"/>
                    <a:pt x="238046" y="135322"/>
                  </a:cubicBezTo>
                  <a:lnTo>
                    <a:pt x="211052" y="135322"/>
                  </a:lnTo>
                  <a:lnTo>
                    <a:pt x="211858" y="77729"/>
                  </a:lnTo>
                  <a:cubicBezTo>
                    <a:pt x="211858" y="74105"/>
                    <a:pt x="153841" y="135322"/>
                    <a:pt x="143768" y="135322"/>
                  </a:cubicBezTo>
                  <a:lnTo>
                    <a:pt x="337" y="135322"/>
                  </a:lnTo>
                  <a:cubicBezTo>
                    <a:pt x="337" y="135322"/>
                    <a:pt x="-9332" y="96658"/>
                    <a:pt x="74873" y="84173"/>
                  </a:cubicBezTo>
                  <a:cubicBezTo>
                    <a:pt x="159481" y="71286"/>
                    <a:pt x="228376" y="0"/>
                    <a:pt x="228376" y="0"/>
                  </a:cubicBezTo>
                </a:path>
              </a:pathLst>
            </a:custGeom>
            <a:solidFill>
              <a:srgbClr val="043C5E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59" name="Forme libre 358">
              <a:extLst>
                <a:ext uri="{FF2B5EF4-FFF2-40B4-BE49-F238E27FC236}">
                  <a16:creationId xmlns:a16="http://schemas.microsoft.com/office/drawing/2014/main" id="{3350FB2B-11EB-5F41-B9B7-4FD55A6B2D7E}"/>
                </a:ext>
              </a:extLst>
            </p:cNvPr>
            <p:cNvSpPr/>
            <p:nvPr/>
          </p:nvSpPr>
          <p:spPr>
            <a:xfrm>
              <a:off x="2208200" y="5785089"/>
              <a:ext cx="178885" cy="128517"/>
            </a:xfrm>
            <a:custGeom>
              <a:avLst/>
              <a:gdLst>
                <a:gd name="connsiteX0" fmla="*/ 112811 w 178885"/>
                <a:gd name="connsiteY0" fmla="*/ 806 h 128517"/>
                <a:gd name="connsiteX1" fmla="*/ 93472 w 178885"/>
                <a:gd name="connsiteY1" fmla="*/ 51148 h 128517"/>
                <a:gd name="connsiteX2" fmla="*/ 66881 w 178885"/>
                <a:gd name="connsiteY2" fmla="*/ 84576 h 128517"/>
                <a:gd name="connsiteX3" fmla="*/ 0 w 178885"/>
                <a:gd name="connsiteY3" fmla="*/ 114782 h 128517"/>
                <a:gd name="connsiteX4" fmla="*/ 136179 w 178885"/>
                <a:gd name="connsiteY4" fmla="*/ 88604 h 128517"/>
                <a:gd name="connsiteX5" fmla="*/ 170828 w 178885"/>
                <a:gd name="connsiteY5" fmla="*/ 38261 h 128517"/>
                <a:gd name="connsiteX6" fmla="*/ 178886 w 178885"/>
                <a:gd name="connsiteY6" fmla="*/ 0 h 128517"/>
                <a:gd name="connsiteX7" fmla="*/ 112811 w 178885"/>
                <a:gd name="connsiteY7" fmla="*/ 0 h 12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8885" h="128517">
                  <a:moveTo>
                    <a:pt x="112811" y="806"/>
                  </a:moveTo>
                  <a:lnTo>
                    <a:pt x="93472" y="51148"/>
                  </a:lnTo>
                  <a:cubicBezTo>
                    <a:pt x="88637" y="65244"/>
                    <a:pt x="79370" y="76924"/>
                    <a:pt x="66881" y="84576"/>
                  </a:cubicBezTo>
                  <a:cubicBezTo>
                    <a:pt x="53182" y="93436"/>
                    <a:pt x="31829" y="105519"/>
                    <a:pt x="0" y="114782"/>
                  </a:cubicBezTo>
                  <a:cubicBezTo>
                    <a:pt x="39081" y="148209"/>
                    <a:pt x="101127" y="113171"/>
                    <a:pt x="136179" y="88604"/>
                  </a:cubicBezTo>
                  <a:cubicBezTo>
                    <a:pt x="153503" y="76521"/>
                    <a:pt x="165590" y="58800"/>
                    <a:pt x="170828" y="38261"/>
                  </a:cubicBezTo>
                  <a:lnTo>
                    <a:pt x="178886" y="0"/>
                  </a:lnTo>
                  <a:lnTo>
                    <a:pt x="112811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0" name="Forme libre 359">
              <a:extLst>
                <a:ext uri="{FF2B5EF4-FFF2-40B4-BE49-F238E27FC236}">
                  <a16:creationId xmlns:a16="http://schemas.microsoft.com/office/drawing/2014/main" id="{9C7ED9AA-AA5A-A249-965D-6771E78F097D}"/>
                </a:ext>
              </a:extLst>
            </p:cNvPr>
            <p:cNvSpPr/>
            <p:nvPr/>
          </p:nvSpPr>
          <p:spPr>
            <a:xfrm>
              <a:off x="2243251" y="4479395"/>
              <a:ext cx="300115" cy="1313748"/>
            </a:xfrm>
            <a:custGeom>
              <a:avLst/>
              <a:gdLst>
                <a:gd name="connsiteX0" fmla="*/ 298949 w 300115"/>
                <a:gd name="connsiteY0" fmla="*/ 0 h 1313748"/>
                <a:gd name="connsiteX1" fmla="*/ 213937 w 300115"/>
                <a:gd name="connsiteY1" fmla="*/ 608948 h 1313748"/>
                <a:gd name="connsiteX2" fmla="*/ 163979 w 300115"/>
                <a:gd name="connsiteY2" fmla="*/ 1313749 h 1313748"/>
                <a:gd name="connsiteX3" fmla="*/ 66881 w 300115"/>
                <a:gd name="connsiteY3" fmla="*/ 1313749 h 1313748"/>
                <a:gd name="connsiteX4" fmla="*/ 0 w 300115"/>
                <a:gd name="connsiteY4" fmla="*/ 0 h 1313748"/>
                <a:gd name="connsiteX5" fmla="*/ 298949 w 300115"/>
                <a:gd name="connsiteY5" fmla="*/ 0 h 131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0115" h="1313748">
                  <a:moveTo>
                    <a:pt x="298949" y="0"/>
                  </a:moveTo>
                  <a:cubicBezTo>
                    <a:pt x="298949" y="0"/>
                    <a:pt x="316676" y="103102"/>
                    <a:pt x="213937" y="608948"/>
                  </a:cubicBezTo>
                  <a:cubicBezTo>
                    <a:pt x="297337" y="872745"/>
                    <a:pt x="163979" y="1313749"/>
                    <a:pt x="163979" y="1313749"/>
                  </a:cubicBezTo>
                  <a:lnTo>
                    <a:pt x="66881" y="1313749"/>
                  </a:lnTo>
                  <a:lnTo>
                    <a:pt x="0" y="0"/>
                  </a:lnTo>
                  <a:lnTo>
                    <a:pt x="298949" y="0"/>
                  </a:lnTo>
                  <a:close/>
                </a:path>
              </a:pathLst>
            </a:custGeom>
            <a:solidFill>
              <a:srgbClr val="00898C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1" name="Forme libre 360">
              <a:extLst>
                <a:ext uri="{FF2B5EF4-FFF2-40B4-BE49-F238E27FC236}">
                  <a16:creationId xmlns:a16="http://schemas.microsoft.com/office/drawing/2014/main" id="{6BD24501-96DC-8C4D-BD97-CAF027132E09}"/>
                </a:ext>
              </a:extLst>
            </p:cNvPr>
            <p:cNvSpPr/>
            <p:nvPr/>
          </p:nvSpPr>
          <p:spPr>
            <a:xfrm>
              <a:off x="2216257" y="3791106"/>
              <a:ext cx="149071" cy="835289"/>
            </a:xfrm>
            <a:custGeom>
              <a:avLst/>
              <a:gdLst>
                <a:gd name="connsiteX0" fmla="*/ 149071 w 149071"/>
                <a:gd name="connsiteY0" fmla="*/ 0 h 835289"/>
                <a:gd name="connsiteX1" fmla="*/ 114422 w 149071"/>
                <a:gd name="connsiteY1" fmla="*/ 835290 h 835289"/>
                <a:gd name="connsiteX2" fmla="*/ 0 w 149071"/>
                <a:gd name="connsiteY2" fmla="*/ 786155 h 835289"/>
                <a:gd name="connsiteX3" fmla="*/ 46736 w 149071"/>
                <a:gd name="connsiteY3" fmla="*/ 411604 h 835289"/>
                <a:gd name="connsiteX4" fmla="*/ 84205 w 149071"/>
                <a:gd name="connsiteY4" fmla="*/ 33831 h 835289"/>
                <a:gd name="connsiteX5" fmla="*/ 149071 w 149071"/>
                <a:gd name="connsiteY5" fmla="*/ 0 h 83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071" h="835289">
                  <a:moveTo>
                    <a:pt x="149071" y="0"/>
                  </a:moveTo>
                  <a:lnTo>
                    <a:pt x="114422" y="835290"/>
                  </a:lnTo>
                  <a:lnTo>
                    <a:pt x="0" y="786155"/>
                  </a:lnTo>
                  <a:cubicBezTo>
                    <a:pt x="0" y="786155"/>
                    <a:pt x="51571" y="629488"/>
                    <a:pt x="46736" y="411604"/>
                  </a:cubicBezTo>
                  <a:cubicBezTo>
                    <a:pt x="64060" y="254131"/>
                    <a:pt x="-24980" y="337096"/>
                    <a:pt x="84205" y="33831"/>
                  </a:cubicBezTo>
                  <a:cubicBezTo>
                    <a:pt x="125301" y="-403"/>
                    <a:pt x="149071" y="0"/>
                    <a:pt x="149071" y="0"/>
                  </a:cubicBezTo>
                </a:path>
              </a:pathLst>
            </a:custGeom>
            <a:solidFill>
              <a:srgbClr val="FFDB71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2" name="Forme libre 361">
              <a:extLst>
                <a:ext uri="{FF2B5EF4-FFF2-40B4-BE49-F238E27FC236}">
                  <a16:creationId xmlns:a16="http://schemas.microsoft.com/office/drawing/2014/main" id="{BA5AFF25-D8F5-124D-8942-A8C95A19CDBE}"/>
                </a:ext>
              </a:extLst>
            </p:cNvPr>
            <p:cNvSpPr/>
            <p:nvPr/>
          </p:nvSpPr>
          <p:spPr>
            <a:xfrm>
              <a:off x="2336723" y="4479395"/>
              <a:ext cx="363583" cy="1313748"/>
            </a:xfrm>
            <a:custGeom>
              <a:avLst/>
              <a:gdLst>
                <a:gd name="connsiteX0" fmla="*/ 298948 w 363583"/>
                <a:gd name="connsiteY0" fmla="*/ 0 h 1313748"/>
                <a:gd name="connsiteX1" fmla="*/ 323525 w 363583"/>
                <a:gd name="connsiteY1" fmla="*/ 608948 h 1313748"/>
                <a:gd name="connsiteX2" fmla="*/ 333195 w 363583"/>
                <a:gd name="connsiteY2" fmla="*/ 1313749 h 1313748"/>
                <a:gd name="connsiteX3" fmla="*/ 245766 w 363583"/>
                <a:gd name="connsiteY3" fmla="*/ 1313749 h 1313748"/>
                <a:gd name="connsiteX4" fmla="*/ 0 w 363583"/>
                <a:gd name="connsiteY4" fmla="*/ 403 h 1313748"/>
                <a:gd name="connsiteX5" fmla="*/ 298948 w 363583"/>
                <a:gd name="connsiteY5" fmla="*/ 403 h 1313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3583" h="1313748">
                  <a:moveTo>
                    <a:pt x="298948" y="0"/>
                  </a:moveTo>
                  <a:cubicBezTo>
                    <a:pt x="298948" y="0"/>
                    <a:pt x="426264" y="103102"/>
                    <a:pt x="323525" y="608948"/>
                  </a:cubicBezTo>
                  <a:cubicBezTo>
                    <a:pt x="406925" y="872745"/>
                    <a:pt x="333195" y="1313749"/>
                    <a:pt x="333195" y="1313749"/>
                  </a:cubicBezTo>
                  <a:lnTo>
                    <a:pt x="245766" y="1313749"/>
                  </a:lnTo>
                  <a:lnTo>
                    <a:pt x="0" y="403"/>
                  </a:lnTo>
                  <a:lnTo>
                    <a:pt x="298948" y="403"/>
                  </a:lnTo>
                  <a:close/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3" name="Forme libre 362">
              <a:extLst>
                <a:ext uri="{FF2B5EF4-FFF2-40B4-BE49-F238E27FC236}">
                  <a16:creationId xmlns:a16="http://schemas.microsoft.com/office/drawing/2014/main" id="{FD432C78-64E7-C04C-90EE-34E853843C8F}"/>
                </a:ext>
              </a:extLst>
            </p:cNvPr>
            <p:cNvSpPr/>
            <p:nvPr/>
          </p:nvSpPr>
          <p:spPr>
            <a:xfrm>
              <a:off x="2424957" y="3720224"/>
              <a:ext cx="295725" cy="906172"/>
            </a:xfrm>
            <a:custGeom>
              <a:avLst/>
              <a:gdLst>
                <a:gd name="connsiteX0" fmla="*/ 35455 w 295725"/>
                <a:gd name="connsiteY0" fmla="*/ 0 h 906172"/>
                <a:gd name="connsiteX1" fmla="*/ 176468 w 295725"/>
                <a:gd name="connsiteY1" fmla="*/ 114379 h 906172"/>
                <a:gd name="connsiteX2" fmla="*/ 222398 w 295725"/>
                <a:gd name="connsiteY2" fmla="*/ 387036 h 906172"/>
                <a:gd name="connsiteX3" fmla="*/ 295726 w 295725"/>
                <a:gd name="connsiteY3" fmla="*/ 906172 h 906172"/>
                <a:gd name="connsiteX4" fmla="*/ 7252 w 295725"/>
                <a:gd name="connsiteY4" fmla="*/ 906172 h 906172"/>
                <a:gd name="connsiteX5" fmla="*/ 0 w 295725"/>
                <a:gd name="connsiteY5" fmla="*/ 87798 h 906172"/>
                <a:gd name="connsiteX6" fmla="*/ 35455 w 295725"/>
                <a:gd name="connsiteY6" fmla="*/ 0 h 9061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725" h="906172">
                  <a:moveTo>
                    <a:pt x="35455" y="0"/>
                  </a:moveTo>
                  <a:cubicBezTo>
                    <a:pt x="35455" y="0"/>
                    <a:pt x="143028" y="60411"/>
                    <a:pt x="176468" y="114379"/>
                  </a:cubicBezTo>
                  <a:cubicBezTo>
                    <a:pt x="208297" y="165930"/>
                    <a:pt x="219175" y="282726"/>
                    <a:pt x="222398" y="387036"/>
                  </a:cubicBezTo>
                  <a:cubicBezTo>
                    <a:pt x="226427" y="530010"/>
                    <a:pt x="295726" y="906172"/>
                    <a:pt x="295726" y="906172"/>
                  </a:cubicBezTo>
                  <a:lnTo>
                    <a:pt x="7252" y="906172"/>
                  </a:lnTo>
                  <a:lnTo>
                    <a:pt x="0" y="87798"/>
                  </a:lnTo>
                  <a:lnTo>
                    <a:pt x="35455" y="0"/>
                  </a:lnTo>
                  <a:close/>
                </a:path>
              </a:pathLst>
            </a:custGeom>
            <a:solidFill>
              <a:srgbClr val="FFDB71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4" name="Forme libre 363">
              <a:extLst>
                <a:ext uri="{FF2B5EF4-FFF2-40B4-BE49-F238E27FC236}">
                  <a16:creationId xmlns:a16="http://schemas.microsoft.com/office/drawing/2014/main" id="{0DA3DA0D-EB2F-6547-9B66-3943EDC791FB}"/>
                </a:ext>
              </a:extLst>
            </p:cNvPr>
            <p:cNvSpPr/>
            <p:nvPr/>
          </p:nvSpPr>
          <p:spPr>
            <a:xfrm>
              <a:off x="2371775" y="3619135"/>
              <a:ext cx="99112" cy="208444"/>
            </a:xfrm>
            <a:custGeom>
              <a:avLst/>
              <a:gdLst>
                <a:gd name="connsiteX0" fmla="*/ 0 w 99112"/>
                <a:gd name="connsiteY0" fmla="*/ 109949 h 208444"/>
                <a:gd name="connsiteX1" fmla="*/ 12490 w 99112"/>
                <a:gd name="connsiteY1" fmla="*/ 174791 h 208444"/>
                <a:gd name="connsiteX2" fmla="*/ 74939 w 99112"/>
                <a:gd name="connsiteY2" fmla="*/ 202177 h 208444"/>
                <a:gd name="connsiteX3" fmla="*/ 99112 w 99112"/>
                <a:gd name="connsiteY3" fmla="*/ 127267 h 208444"/>
                <a:gd name="connsiteX4" fmla="*/ 40692 w 99112"/>
                <a:gd name="connsiteY4" fmla="*/ 0 h 208444"/>
                <a:gd name="connsiteX5" fmla="*/ 0 w 99112"/>
                <a:gd name="connsiteY5" fmla="*/ 109949 h 20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112" h="208444">
                  <a:moveTo>
                    <a:pt x="0" y="109949"/>
                  </a:moveTo>
                  <a:lnTo>
                    <a:pt x="12490" y="174791"/>
                  </a:lnTo>
                  <a:cubicBezTo>
                    <a:pt x="17727" y="203385"/>
                    <a:pt x="50362" y="217481"/>
                    <a:pt x="74939" y="202177"/>
                  </a:cubicBezTo>
                  <a:lnTo>
                    <a:pt x="99112" y="127267"/>
                  </a:lnTo>
                  <a:lnTo>
                    <a:pt x="40692" y="0"/>
                  </a:lnTo>
                  <a:lnTo>
                    <a:pt x="0" y="109949"/>
                  </a:lnTo>
                  <a:close/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5" name="Forme libre 364">
              <a:extLst>
                <a:ext uri="{FF2B5EF4-FFF2-40B4-BE49-F238E27FC236}">
                  <a16:creationId xmlns:a16="http://schemas.microsoft.com/office/drawing/2014/main" id="{127970D3-786C-FA4A-AA0A-CDA1F0B485FD}"/>
                </a:ext>
              </a:extLst>
            </p:cNvPr>
            <p:cNvSpPr/>
            <p:nvPr/>
          </p:nvSpPr>
          <p:spPr>
            <a:xfrm>
              <a:off x="2233167" y="3438047"/>
              <a:ext cx="276847" cy="470660"/>
            </a:xfrm>
            <a:custGeom>
              <a:avLst/>
              <a:gdLst>
                <a:gd name="connsiteX0" fmla="*/ 43928 w 276847"/>
                <a:gd name="connsiteY0" fmla="*/ 96109 h 470660"/>
                <a:gd name="connsiteX1" fmla="*/ 161976 w 276847"/>
                <a:gd name="connsiteY1" fmla="*/ 142425 h 470660"/>
                <a:gd name="connsiteX2" fmla="*/ 207100 w 276847"/>
                <a:gd name="connsiteY2" fmla="*/ 386084 h 470660"/>
                <a:gd name="connsiteX3" fmla="*/ 276801 w 276847"/>
                <a:gd name="connsiteY3" fmla="*/ 278955 h 470660"/>
                <a:gd name="connsiteX4" fmla="*/ 213547 w 276847"/>
                <a:gd name="connsiteY4" fmla="*/ 36503 h 470660"/>
                <a:gd name="connsiteX5" fmla="*/ 25797 w 276847"/>
                <a:gd name="connsiteY5" fmla="*/ 51808 h 470660"/>
                <a:gd name="connsiteX6" fmla="*/ 415 w 276847"/>
                <a:gd name="connsiteY6" fmla="*/ 152896 h 470660"/>
                <a:gd name="connsiteX7" fmla="*/ 16933 w 276847"/>
                <a:gd name="connsiteY7" fmla="*/ 470661 h 470660"/>
                <a:gd name="connsiteX8" fmla="*/ 154724 w 276847"/>
                <a:gd name="connsiteY8" fmla="*/ 368364 h 470660"/>
                <a:gd name="connsiteX9" fmla="*/ 138205 w 276847"/>
                <a:gd name="connsiteY9" fmla="*/ 290634 h 470660"/>
                <a:gd name="connsiteX10" fmla="*/ 43928 w 276847"/>
                <a:gd name="connsiteY10" fmla="*/ 96109 h 470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847" h="470660">
                  <a:moveTo>
                    <a:pt x="43928" y="96109"/>
                  </a:moveTo>
                  <a:cubicBezTo>
                    <a:pt x="103959" y="80805"/>
                    <a:pt x="161976" y="142425"/>
                    <a:pt x="161976" y="142425"/>
                  </a:cubicBezTo>
                  <a:lnTo>
                    <a:pt x="207100" y="386084"/>
                  </a:lnTo>
                  <a:lnTo>
                    <a:pt x="276801" y="278955"/>
                  </a:lnTo>
                  <a:cubicBezTo>
                    <a:pt x="276801" y="278955"/>
                    <a:pt x="280830" y="133162"/>
                    <a:pt x="213547" y="36503"/>
                  </a:cubicBezTo>
                  <a:cubicBezTo>
                    <a:pt x="165199" y="-21894"/>
                    <a:pt x="72936" y="-5382"/>
                    <a:pt x="25797" y="51808"/>
                  </a:cubicBezTo>
                  <a:cubicBezTo>
                    <a:pt x="3235" y="79597"/>
                    <a:pt x="-1600" y="117455"/>
                    <a:pt x="415" y="152896"/>
                  </a:cubicBezTo>
                  <a:cubicBezTo>
                    <a:pt x="3235" y="200017"/>
                    <a:pt x="16933" y="470661"/>
                    <a:pt x="16933" y="470661"/>
                  </a:cubicBezTo>
                  <a:lnTo>
                    <a:pt x="154724" y="368364"/>
                  </a:lnTo>
                  <a:cubicBezTo>
                    <a:pt x="154724" y="368364"/>
                    <a:pt x="151501" y="340977"/>
                    <a:pt x="138205" y="290634"/>
                  </a:cubicBezTo>
                  <a:cubicBezTo>
                    <a:pt x="115643" y="204850"/>
                    <a:pt x="3235" y="106581"/>
                    <a:pt x="43928" y="96109"/>
                  </a:cubicBezTo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6" name="Forme libre 365">
              <a:extLst>
                <a:ext uri="{FF2B5EF4-FFF2-40B4-BE49-F238E27FC236}">
                  <a16:creationId xmlns:a16="http://schemas.microsoft.com/office/drawing/2014/main" id="{06C5FD5B-2B28-2D4A-AB88-BCAC3F89C4F4}"/>
                </a:ext>
              </a:extLst>
            </p:cNvPr>
            <p:cNvSpPr/>
            <p:nvPr/>
          </p:nvSpPr>
          <p:spPr>
            <a:xfrm>
              <a:off x="2384861" y="3575793"/>
              <a:ext cx="37485" cy="41979"/>
            </a:xfrm>
            <a:custGeom>
              <a:avLst/>
              <a:gdLst>
                <a:gd name="connsiteX0" fmla="*/ 28412 w 37485"/>
                <a:gd name="connsiteY0" fmla="*/ 1054 h 41979"/>
                <a:gd name="connsiteX1" fmla="*/ 2627 w 37485"/>
                <a:gd name="connsiteY1" fmla="*/ 14344 h 41979"/>
                <a:gd name="connsiteX2" fmla="*/ 9073 w 37485"/>
                <a:gd name="connsiteY2" fmla="*/ 40925 h 41979"/>
                <a:gd name="connsiteX3" fmla="*/ 34859 w 37485"/>
                <a:gd name="connsiteY3" fmla="*/ 27635 h 41979"/>
                <a:gd name="connsiteX4" fmla="*/ 28412 w 37485"/>
                <a:gd name="connsiteY4" fmla="*/ 1054 h 419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85" h="41979">
                  <a:moveTo>
                    <a:pt x="28412" y="1054"/>
                  </a:moveTo>
                  <a:cubicBezTo>
                    <a:pt x="19549" y="-2571"/>
                    <a:pt x="7865" y="3470"/>
                    <a:pt x="2627" y="14344"/>
                  </a:cubicBezTo>
                  <a:cubicBezTo>
                    <a:pt x="-2611" y="25218"/>
                    <a:pt x="210" y="37301"/>
                    <a:pt x="9073" y="40925"/>
                  </a:cubicBezTo>
                  <a:cubicBezTo>
                    <a:pt x="17937" y="44550"/>
                    <a:pt x="29621" y="38509"/>
                    <a:pt x="34859" y="27635"/>
                  </a:cubicBezTo>
                  <a:cubicBezTo>
                    <a:pt x="40096" y="16761"/>
                    <a:pt x="37276" y="4678"/>
                    <a:pt x="28412" y="1054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7" name="Forme libre 366">
              <a:extLst>
                <a:ext uri="{FF2B5EF4-FFF2-40B4-BE49-F238E27FC236}">
                  <a16:creationId xmlns:a16="http://schemas.microsoft.com/office/drawing/2014/main" id="{A0725305-9770-0C41-BBA6-8EA4783C719D}"/>
                </a:ext>
              </a:extLst>
            </p:cNvPr>
            <p:cNvSpPr/>
            <p:nvPr/>
          </p:nvSpPr>
          <p:spPr>
            <a:xfrm>
              <a:off x="2247683" y="3511200"/>
              <a:ext cx="172164" cy="234409"/>
            </a:xfrm>
            <a:custGeom>
              <a:avLst/>
              <a:gdLst>
                <a:gd name="connsiteX0" fmla="*/ 100724 w 172164"/>
                <a:gd name="connsiteY0" fmla="*/ 229564 h 234409"/>
                <a:gd name="connsiteX1" fmla="*/ 71313 w 172164"/>
                <a:gd name="connsiteY1" fmla="*/ 233188 h 234409"/>
                <a:gd name="connsiteX2" fmla="*/ 0 w 172164"/>
                <a:gd name="connsiteY2" fmla="*/ 43899 h 234409"/>
                <a:gd name="connsiteX3" fmla="*/ 41498 w 172164"/>
                <a:gd name="connsiteY3" fmla="*/ 0 h 234409"/>
                <a:gd name="connsiteX4" fmla="*/ 124092 w 172164"/>
                <a:gd name="connsiteY4" fmla="*/ 18123 h 234409"/>
                <a:gd name="connsiteX5" fmla="*/ 164784 w 172164"/>
                <a:gd name="connsiteY5" fmla="*/ 108338 h 234409"/>
                <a:gd name="connsiteX6" fmla="*/ 161561 w 172164"/>
                <a:gd name="connsiteY6" fmla="*/ 183248 h 234409"/>
                <a:gd name="connsiteX7" fmla="*/ 100724 w 172164"/>
                <a:gd name="connsiteY7" fmla="*/ 229564 h 23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164" h="234409">
                  <a:moveTo>
                    <a:pt x="100724" y="229564"/>
                  </a:moveTo>
                  <a:cubicBezTo>
                    <a:pt x="89443" y="233591"/>
                    <a:pt x="78565" y="236008"/>
                    <a:pt x="71313" y="233188"/>
                  </a:cubicBezTo>
                  <a:cubicBezTo>
                    <a:pt x="18936" y="195330"/>
                    <a:pt x="0" y="43899"/>
                    <a:pt x="0" y="43899"/>
                  </a:cubicBezTo>
                  <a:lnTo>
                    <a:pt x="41498" y="0"/>
                  </a:lnTo>
                  <a:lnTo>
                    <a:pt x="124092" y="18123"/>
                  </a:lnTo>
                  <a:lnTo>
                    <a:pt x="164784" y="108338"/>
                  </a:lnTo>
                  <a:cubicBezTo>
                    <a:pt x="175663" y="132503"/>
                    <a:pt x="174454" y="160292"/>
                    <a:pt x="161561" y="183248"/>
                  </a:cubicBezTo>
                  <a:cubicBezTo>
                    <a:pt x="146251" y="204191"/>
                    <a:pt x="125301" y="220703"/>
                    <a:pt x="100724" y="229564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8" name="Forme libre 367">
              <a:extLst>
                <a:ext uri="{FF2B5EF4-FFF2-40B4-BE49-F238E27FC236}">
                  <a16:creationId xmlns:a16="http://schemas.microsoft.com/office/drawing/2014/main" id="{380AC313-6BB6-1F48-8A6B-2009C3ED7DE1}"/>
                </a:ext>
              </a:extLst>
            </p:cNvPr>
            <p:cNvSpPr/>
            <p:nvPr/>
          </p:nvSpPr>
          <p:spPr>
            <a:xfrm>
              <a:off x="2263322" y="3477370"/>
              <a:ext cx="138267" cy="103102"/>
            </a:xfrm>
            <a:custGeom>
              <a:avLst/>
              <a:gdLst>
                <a:gd name="connsiteX0" fmla="*/ 74 w 138267"/>
                <a:gd name="connsiteY0" fmla="*/ 53565 h 103102"/>
                <a:gd name="connsiteX1" fmla="*/ 131821 w 138267"/>
                <a:gd name="connsiteY1" fmla="*/ 103102 h 103102"/>
                <a:gd name="connsiteX2" fmla="*/ 138267 w 138267"/>
                <a:gd name="connsiteY2" fmla="*/ 41080 h 103102"/>
                <a:gd name="connsiteX3" fmla="*/ 63732 w 138267"/>
                <a:gd name="connsiteY3" fmla="*/ 0 h 103102"/>
                <a:gd name="connsiteX4" fmla="*/ 4909 w 138267"/>
                <a:gd name="connsiteY4" fmla="*/ 35441 h 103102"/>
                <a:gd name="connsiteX5" fmla="*/ 74 w 138267"/>
                <a:gd name="connsiteY5" fmla="*/ 53565 h 10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8267" h="103102">
                  <a:moveTo>
                    <a:pt x="74" y="53565"/>
                  </a:moveTo>
                  <a:cubicBezTo>
                    <a:pt x="4506" y="99478"/>
                    <a:pt x="131821" y="103102"/>
                    <a:pt x="131821" y="103102"/>
                  </a:cubicBezTo>
                  <a:lnTo>
                    <a:pt x="138267" y="41080"/>
                  </a:lnTo>
                  <a:lnTo>
                    <a:pt x="63732" y="0"/>
                  </a:lnTo>
                  <a:lnTo>
                    <a:pt x="4909" y="35441"/>
                  </a:lnTo>
                  <a:cubicBezTo>
                    <a:pt x="5312" y="35844"/>
                    <a:pt x="-732" y="45913"/>
                    <a:pt x="74" y="53565"/>
                  </a:cubicBezTo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69" name="Forme libre 368">
              <a:extLst>
                <a:ext uri="{FF2B5EF4-FFF2-40B4-BE49-F238E27FC236}">
                  <a16:creationId xmlns:a16="http://schemas.microsoft.com/office/drawing/2014/main" id="{6F38DF41-5AC9-804E-86C9-C9C2CA14F9AE}"/>
                </a:ext>
              </a:extLst>
            </p:cNvPr>
            <p:cNvSpPr/>
            <p:nvPr/>
          </p:nvSpPr>
          <p:spPr>
            <a:xfrm>
              <a:off x="2242849" y="3532501"/>
              <a:ext cx="23690" cy="54415"/>
            </a:xfrm>
            <a:custGeom>
              <a:avLst/>
              <a:gdLst>
                <a:gd name="connsiteX0" fmla="*/ 22965 w 23690"/>
                <a:gd name="connsiteY0" fmla="*/ 7697 h 54415"/>
                <a:gd name="connsiteX1" fmla="*/ 10072 w 23690"/>
                <a:gd name="connsiteY1" fmla="*/ 54415 h 54415"/>
                <a:gd name="connsiteX2" fmla="*/ 0 w 23690"/>
                <a:gd name="connsiteY2" fmla="*/ 35889 h 54415"/>
                <a:gd name="connsiteX3" fmla="*/ 403 w 23690"/>
                <a:gd name="connsiteY3" fmla="*/ 20182 h 54415"/>
                <a:gd name="connsiteX4" fmla="*/ 10475 w 23690"/>
                <a:gd name="connsiteY4" fmla="*/ 7697 h 54415"/>
                <a:gd name="connsiteX5" fmla="*/ 22965 w 23690"/>
                <a:gd name="connsiteY5" fmla="*/ 7697 h 5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90" h="54415">
                  <a:moveTo>
                    <a:pt x="22965" y="7697"/>
                  </a:moveTo>
                  <a:cubicBezTo>
                    <a:pt x="27397" y="24612"/>
                    <a:pt x="10072" y="54415"/>
                    <a:pt x="10072" y="54415"/>
                  </a:cubicBezTo>
                  <a:lnTo>
                    <a:pt x="0" y="35889"/>
                  </a:lnTo>
                  <a:lnTo>
                    <a:pt x="403" y="20182"/>
                  </a:lnTo>
                  <a:lnTo>
                    <a:pt x="10475" y="7697"/>
                  </a:lnTo>
                  <a:cubicBezTo>
                    <a:pt x="10072" y="7697"/>
                    <a:pt x="18936" y="-9621"/>
                    <a:pt x="22965" y="7697"/>
                  </a:cubicBezTo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0" name="Forme libre 369">
              <a:extLst>
                <a:ext uri="{FF2B5EF4-FFF2-40B4-BE49-F238E27FC236}">
                  <a16:creationId xmlns:a16="http://schemas.microsoft.com/office/drawing/2014/main" id="{D186B3E0-2EBA-444F-889D-679E6C958AD2}"/>
                </a:ext>
              </a:extLst>
            </p:cNvPr>
            <p:cNvSpPr/>
            <p:nvPr/>
          </p:nvSpPr>
          <p:spPr>
            <a:xfrm>
              <a:off x="2236402" y="3833971"/>
              <a:ext cx="421239" cy="574900"/>
            </a:xfrm>
            <a:custGeom>
              <a:avLst/>
              <a:gdLst>
                <a:gd name="connsiteX0" fmla="*/ 335612 w 421239"/>
                <a:gd name="connsiteY0" fmla="*/ 632 h 574900"/>
                <a:gd name="connsiteX1" fmla="*/ 379125 w 421239"/>
                <a:gd name="connsiteY1" fmla="*/ 524601 h 574900"/>
                <a:gd name="connsiteX2" fmla="*/ 298949 w 421239"/>
                <a:gd name="connsiteY2" fmla="*/ 572124 h 574900"/>
                <a:gd name="connsiteX3" fmla="*/ 0 w 421239"/>
                <a:gd name="connsiteY3" fmla="*/ 374780 h 574900"/>
                <a:gd name="connsiteX4" fmla="*/ 28203 w 421239"/>
                <a:gd name="connsiteY4" fmla="*/ 339339 h 574900"/>
                <a:gd name="connsiteX5" fmla="*/ 263897 w 421239"/>
                <a:gd name="connsiteY5" fmla="*/ 394515 h 574900"/>
                <a:gd name="connsiteX6" fmla="*/ 335612 w 421239"/>
                <a:gd name="connsiteY6" fmla="*/ 632 h 57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239" h="574900">
                  <a:moveTo>
                    <a:pt x="335612" y="632"/>
                  </a:moveTo>
                  <a:cubicBezTo>
                    <a:pt x="475014" y="16741"/>
                    <a:pt x="409342" y="376794"/>
                    <a:pt x="379125" y="524601"/>
                  </a:cubicBezTo>
                  <a:cubicBezTo>
                    <a:pt x="371873" y="560848"/>
                    <a:pt x="334403" y="582998"/>
                    <a:pt x="298949" y="572124"/>
                  </a:cubicBezTo>
                  <a:cubicBezTo>
                    <a:pt x="177677" y="533864"/>
                    <a:pt x="0" y="374780"/>
                    <a:pt x="0" y="374780"/>
                  </a:cubicBezTo>
                  <a:lnTo>
                    <a:pt x="28203" y="339339"/>
                  </a:lnTo>
                  <a:lnTo>
                    <a:pt x="263897" y="394515"/>
                  </a:lnTo>
                  <a:cubicBezTo>
                    <a:pt x="264299" y="394515"/>
                    <a:pt x="173648" y="-18297"/>
                    <a:pt x="335612" y="632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1" name="Forme libre 370">
              <a:extLst>
                <a:ext uri="{FF2B5EF4-FFF2-40B4-BE49-F238E27FC236}">
                  <a16:creationId xmlns:a16="http://schemas.microsoft.com/office/drawing/2014/main" id="{08CA32F8-033C-7344-868F-ED2CD2AB180C}"/>
                </a:ext>
              </a:extLst>
            </p:cNvPr>
            <p:cNvSpPr/>
            <p:nvPr/>
          </p:nvSpPr>
          <p:spPr>
            <a:xfrm>
              <a:off x="2086371" y="4077457"/>
              <a:ext cx="252117" cy="308904"/>
            </a:xfrm>
            <a:custGeom>
              <a:avLst/>
              <a:gdLst>
                <a:gd name="connsiteX0" fmla="*/ 206437 w 252117"/>
                <a:gd name="connsiteY0" fmla="*/ 11277 h 308904"/>
                <a:gd name="connsiteX1" fmla="*/ 251964 w 252117"/>
                <a:gd name="connsiteY1" fmla="*/ 293197 h 308904"/>
                <a:gd name="connsiteX2" fmla="*/ 238668 w 252117"/>
                <a:gd name="connsiteY2" fmla="*/ 308904 h 308904"/>
                <a:gd name="connsiteX3" fmla="*/ 58171 w 252117"/>
                <a:gd name="connsiteY3" fmla="*/ 308904 h 308904"/>
                <a:gd name="connsiteX4" fmla="*/ 44875 w 252117"/>
                <a:gd name="connsiteY4" fmla="*/ 297627 h 308904"/>
                <a:gd name="connsiteX5" fmla="*/ 154 w 252117"/>
                <a:gd name="connsiteY5" fmla="*/ 15707 h 308904"/>
                <a:gd name="connsiteX6" fmla="*/ 13450 w 252117"/>
                <a:gd name="connsiteY6" fmla="*/ 0 h 308904"/>
                <a:gd name="connsiteX7" fmla="*/ 193141 w 252117"/>
                <a:gd name="connsiteY7" fmla="*/ 0 h 308904"/>
                <a:gd name="connsiteX8" fmla="*/ 206437 w 252117"/>
                <a:gd name="connsiteY8" fmla="*/ 11277 h 30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117" h="308904">
                  <a:moveTo>
                    <a:pt x="206437" y="11277"/>
                  </a:moveTo>
                  <a:lnTo>
                    <a:pt x="251964" y="293197"/>
                  </a:lnTo>
                  <a:cubicBezTo>
                    <a:pt x="253173" y="301252"/>
                    <a:pt x="247129" y="308904"/>
                    <a:pt x="238668" y="308904"/>
                  </a:cubicBezTo>
                  <a:lnTo>
                    <a:pt x="58171" y="308904"/>
                  </a:lnTo>
                  <a:cubicBezTo>
                    <a:pt x="51725" y="308904"/>
                    <a:pt x="46084" y="304071"/>
                    <a:pt x="44875" y="297627"/>
                  </a:cubicBezTo>
                  <a:lnTo>
                    <a:pt x="154" y="15707"/>
                  </a:lnTo>
                  <a:cubicBezTo>
                    <a:pt x="-1055" y="7652"/>
                    <a:pt x="4989" y="0"/>
                    <a:pt x="13450" y="0"/>
                  </a:cubicBezTo>
                  <a:lnTo>
                    <a:pt x="193141" y="0"/>
                  </a:lnTo>
                  <a:cubicBezTo>
                    <a:pt x="199587" y="0"/>
                    <a:pt x="205228" y="4833"/>
                    <a:pt x="206437" y="11277"/>
                  </a:cubicBezTo>
                </a:path>
              </a:pathLst>
            </a:custGeom>
            <a:solidFill>
              <a:srgbClr val="043C5E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2" name="Forme libre 371">
              <a:extLst>
                <a:ext uri="{FF2B5EF4-FFF2-40B4-BE49-F238E27FC236}">
                  <a16:creationId xmlns:a16="http://schemas.microsoft.com/office/drawing/2014/main" id="{F069A677-2635-E94C-AEC4-F0532D955CD0}"/>
                </a:ext>
              </a:extLst>
            </p:cNvPr>
            <p:cNvSpPr/>
            <p:nvPr/>
          </p:nvSpPr>
          <p:spPr>
            <a:xfrm>
              <a:off x="2091814" y="4123742"/>
              <a:ext cx="64494" cy="172404"/>
            </a:xfrm>
            <a:custGeom>
              <a:avLst/>
              <a:gdLst>
                <a:gd name="connsiteX0" fmla="*/ 755 w 64494"/>
                <a:gd name="connsiteY0" fmla="*/ 89843 h 172404"/>
                <a:gd name="connsiteX1" fmla="*/ 3978 w 64494"/>
                <a:gd name="connsiteY1" fmla="*/ 53193 h 172404"/>
                <a:gd name="connsiteX2" fmla="*/ 34598 w 64494"/>
                <a:gd name="connsiteY2" fmla="*/ 5669 h 172404"/>
                <a:gd name="connsiteX3" fmla="*/ 63204 w 64494"/>
                <a:gd name="connsiteY3" fmla="*/ 72122 h 172404"/>
                <a:gd name="connsiteX4" fmla="*/ 45879 w 64494"/>
                <a:gd name="connsiteY4" fmla="*/ 131728 h 172404"/>
                <a:gd name="connsiteX5" fmla="*/ 26943 w 64494"/>
                <a:gd name="connsiteY5" fmla="*/ 172405 h 172404"/>
                <a:gd name="connsiteX6" fmla="*/ 755 w 64494"/>
                <a:gd name="connsiteY6" fmla="*/ 89843 h 172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494" h="172404">
                  <a:moveTo>
                    <a:pt x="755" y="89843"/>
                  </a:moveTo>
                  <a:cubicBezTo>
                    <a:pt x="-454" y="79774"/>
                    <a:pt x="755" y="73733"/>
                    <a:pt x="3978" y="53193"/>
                  </a:cubicBezTo>
                  <a:cubicBezTo>
                    <a:pt x="8410" y="26612"/>
                    <a:pt x="7201" y="-15273"/>
                    <a:pt x="34598" y="5669"/>
                  </a:cubicBezTo>
                  <a:cubicBezTo>
                    <a:pt x="60383" y="37889"/>
                    <a:pt x="63204" y="72122"/>
                    <a:pt x="63204" y="72122"/>
                  </a:cubicBezTo>
                  <a:cubicBezTo>
                    <a:pt x="68441" y="91051"/>
                    <a:pt x="56757" y="117229"/>
                    <a:pt x="45879" y="131728"/>
                  </a:cubicBezTo>
                  <a:lnTo>
                    <a:pt x="26943" y="172405"/>
                  </a:lnTo>
                  <a:cubicBezTo>
                    <a:pt x="26943" y="172405"/>
                    <a:pt x="-5289" y="134950"/>
                    <a:pt x="755" y="89843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373" name="Forme libre 372">
            <a:extLst>
              <a:ext uri="{FF2B5EF4-FFF2-40B4-BE49-F238E27FC236}">
                <a16:creationId xmlns:a16="http://schemas.microsoft.com/office/drawing/2014/main" id="{CAD79C91-F27E-484D-93C7-DCC7ED8EC619}"/>
              </a:ext>
            </a:extLst>
          </p:cNvPr>
          <p:cNvSpPr/>
          <p:nvPr/>
        </p:nvSpPr>
        <p:spPr>
          <a:xfrm>
            <a:off x="2182817" y="4173310"/>
            <a:ext cx="27396" cy="27386"/>
          </a:xfrm>
          <a:custGeom>
            <a:avLst/>
            <a:gdLst>
              <a:gd name="connsiteX0" fmla="*/ 0 w 27396"/>
              <a:gd name="connsiteY0" fmla="*/ 0 h 27386"/>
              <a:gd name="connsiteX1" fmla="*/ 27397 w 27396"/>
              <a:gd name="connsiteY1" fmla="*/ 0 h 27386"/>
              <a:gd name="connsiteX2" fmla="*/ 27397 w 27396"/>
              <a:gd name="connsiteY2" fmla="*/ 27386 h 27386"/>
              <a:gd name="connsiteX3" fmla="*/ 0 w 27396"/>
              <a:gd name="connsiteY3" fmla="*/ 27386 h 27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96" h="27386">
                <a:moveTo>
                  <a:pt x="0" y="0"/>
                </a:moveTo>
                <a:lnTo>
                  <a:pt x="27397" y="0"/>
                </a:lnTo>
                <a:lnTo>
                  <a:pt x="27397" y="27386"/>
                </a:lnTo>
                <a:lnTo>
                  <a:pt x="0" y="27386"/>
                </a:lnTo>
                <a:close/>
              </a:path>
            </a:pathLst>
          </a:custGeom>
          <a:solidFill>
            <a:srgbClr val="E0F0EB"/>
          </a:solidFill>
          <a:ln w="40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374" name="Illustration">
            <a:extLst>
              <a:ext uri="{FF2B5EF4-FFF2-40B4-BE49-F238E27FC236}">
                <a16:creationId xmlns:a16="http://schemas.microsoft.com/office/drawing/2014/main" id="{2BA79A73-5BF4-734A-8782-62179AECB417}"/>
              </a:ext>
            </a:extLst>
          </p:cNvPr>
          <p:cNvGrpSpPr/>
          <p:nvPr/>
        </p:nvGrpSpPr>
        <p:grpSpPr>
          <a:xfrm>
            <a:off x="1174966" y="3446365"/>
            <a:ext cx="851978" cy="2591285"/>
            <a:chOff x="1174966" y="3446365"/>
            <a:chExt cx="851978" cy="2591285"/>
          </a:xfrm>
        </p:grpSpPr>
        <p:sp>
          <p:nvSpPr>
            <p:cNvPr id="375" name="Forme libre 374">
              <a:extLst>
                <a:ext uri="{FF2B5EF4-FFF2-40B4-BE49-F238E27FC236}">
                  <a16:creationId xmlns:a16="http://schemas.microsoft.com/office/drawing/2014/main" id="{35FD8FC8-D46D-7A4B-B94B-D81C3F534606}"/>
                </a:ext>
              </a:extLst>
            </p:cNvPr>
            <p:cNvSpPr/>
            <p:nvPr/>
          </p:nvSpPr>
          <p:spPr>
            <a:xfrm>
              <a:off x="1921590" y="3506058"/>
              <a:ext cx="105354" cy="332974"/>
            </a:xfrm>
            <a:custGeom>
              <a:avLst/>
              <a:gdLst>
                <a:gd name="connsiteX0" fmla="*/ 7403 w 105354"/>
                <a:gd name="connsiteY0" fmla="*/ 166642 h 332974"/>
                <a:gd name="connsiteX1" fmla="*/ 3777 w 105354"/>
                <a:gd name="connsiteY1" fmla="*/ 226248 h 332974"/>
                <a:gd name="connsiteX2" fmla="*/ 14655 w 105354"/>
                <a:gd name="connsiteY2" fmla="*/ 303574 h 332974"/>
                <a:gd name="connsiteX3" fmla="*/ 27951 w 105354"/>
                <a:gd name="connsiteY3" fmla="*/ 312435 h 332974"/>
                <a:gd name="connsiteX4" fmla="*/ 77507 w 105354"/>
                <a:gd name="connsiteY4" fmla="*/ 332975 h 332974"/>
                <a:gd name="connsiteX5" fmla="*/ 77507 w 105354"/>
                <a:gd name="connsiteY5" fmla="*/ 301963 h 332974"/>
                <a:gd name="connsiteX6" fmla="*/ 99263 w 105354"/>
                <a:gd name="connsiteY6" fmla="*/ 222220 h 332974"/>
                <a:gd name="connsiteX7" fmla="*/ 41246 w 105354"/>
                <a:gd name="connsiteY7" fmla="*/ 92939 h 332974"/>
                <a:gd name="connsiteX8" fmla="*/ 11029 w 105354"/>
                <a:gd name="connsiteY8" fmla="*/ 1114 h 332974"/>
                <a:gd name="connsiteX9" fmla="*/ 9015 w 105354"/>
                <a:gd name="connsiteY9" fmla="*/ 96162 h 332974"/>
                <a:gd name="connsiteX10" fmla="*/ 7403 w 105354"/>
                <a:gd name="connsiteY10" fmla="*/ 166642 h 332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5354" h="332974">
                  <a:moveTo>
                    <a:pt x="7403" y="166642"/>
                  </a:moveTo>
                  <a:cubicBezTo>
                    <a:pt x="-1058" y="185570"/>
                    <a:pt x="-2266" y="206513"/>
                    <a:pt x="3777" y="226248"/>
                  </a:cubicBezTo>
                  <a:lnTo>
                    <a:pt x="14655" y="303574"/>
                  </a:lnTo>
                  <a:lnTo>
                    <a:pt x="27951" y="312435"/>
                  </a:lnTo>
                  <a:lnTo>
                    <a:pt x="77507" y="332975"/>
                  </a:lnTo>
                  <a:cubicBezTo>
                    <a:pt x="72269" y="317670"/>
                    <a:pt x="77507" y="301963"/>
                    <a:pt x="77507" y="301963"/>
                  </a:cubicBezTo>
                  <a:lnTo>
                    <a:pt x="99263" y="222220"/>
                  </a:lnTo>
                  <a:cubicBezTo>
                    <a:pt x="99263" y="222220"/>
                    <a:pt x="133107" y="87301"/>
                    <a:pt x="41246" y="92939"/>
                  </a:cubicBezTo>
                  <a:cubicBezTo>
                    <a:pt x="41649" y="-17009"/>
                    <a:pt x="11029" y="1114"/>
                    <a:pt x="11029" y="1114"/>
                  </a:cubicBezTo>
                  <a:lnTo>
                    <a:pt x="9015" y="96162"/>
                  </a:lnTo>
                  <a:lnTo>
                    <a:pt x="7403" y="166642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6" name="Forme libre 375">
              <a:extLst>
                <a:ext uri="{FF2B5EF4-FFF2-40B4-BE49-F238E27FC236}">
                  <a16:creationId xmlns:a16="http://schemas.microsoft.com/office/drawing/2014/main" id="{9231CFBE-FB5E-564E-BF9D-3A3F4DE0D8DB}"/>
                </a:ext>
              </a:extLst>
            </p:cNvPr>
            <p:cNvSpPr/>
            <p:nvPr/>
          </p:nvSpPr>
          <p:spPr>
            <a:xfrm>
              <a:off x="1679600" y="3801578"/>
              <a:ext cx="328277" cy="582543"/>
            </a:xfrm>
            <a:custGeom>
              <a:avLst/>
              <a:gdLst>
                <a:gd name="connsiteX0" fmla="*/ 21756 w 328277"/>
                <a:gd name="connsiteY0" fmla="*/ 138141 h 582543"/>
                <a:gd name="connsiteX1" fmla="*/ 140611 w 328277"/>
                <a:gd name="connsiteY1" fmla="*/ 387036 h 582543"/>
                <a:gd name="connsiteX2" fmla="*/ 252213 w 328277"/>
                <a:gd name="connsiteY2" fmla="*/ 0 h 582543"/>
                <a:gd name="connsiteX3" fmla="*/ 326345 w 328277"/>
                <a:gd name="connsiteY3" fmla="*/ 8860 h 582543"/>
                <a:gd name="connsiteX4" fmla="*/ 188555 w 328277"/>
                <a:gd name="connsiteY4" fmla="*/ 581964 h 582543"/>
                <a:gd name="connsiteX5" fmla="*/ 0 w 328277"/>
                <a:gd name="connsiteY5" fmla="*/ 467585 h 582543"/>
                <a:gd name="connsiteX6" fmla="*/ 21756 w 328277"/>
                <a:gd name="connsiteY6" fmla="*/ 138141 h 582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8277" h="582543">
                  <a:moveTo>
                    <a:pt x="21756" y="138141"/>
                  </a:moveTo>
                  <a:cubicBezTo>
                    <a:pt x="21756" y="138141"/>
                    <a:pt x="85817" y="382606"/>
                    <a:pt x="140611" y="387036"/>
                  </a:cubicBezTo>
                  <a:cubicBezTo>
                    <a:pt x="195404" y="391467"/>
                    <a:pt x="252213" y="0"/>
                    <a:pt x="252213" y="0"/>
                  </a:cubicBezTo>
                  <a:lnTo>
                    <a:pt x="326345" y="8860"/>
                  </a:lnTo>
                  <a:cubicBezTo>
                    <a:pt x="326345" y="8860"/>
                    <a:pt x="355354" y="571895"/>
                    <a:pt x="188555" y="581964"/>
                  </a:cubicBezTo>
                  <a:cubicBezTo>
                    <a:pt x="22159" y="592033"/>
                    <a:pt x="0" y="467585"/>
                    <a:pt x="0" y="467585"/>
                  </a:cubicBezTo>
                  <a:lnTo>
                    <a:pt x="21756" y="138141"/>
                  </a:lnTo>
                  <a:close/>
                </a:path>
              </a:pathLst>
            </a:custGeom>
            <a:solidFill>
              <a:srgbClr val="FFDB71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7" name="Forme libre 376">
              <a:extLst>
                <a:ext uri="{FF2B5EF4-FFF2-40B4-BE49-F238E27FC236}">
                  <a16:creationId xmlns:a16="http://schemas.microsoft.com/office/drawing/2014/main" id="{A2395A64-6AB3-E341-BDB7-FD7BEA5AB8BA}"/>
                </a:ext>
              </a:extLst>
            </p:cNvPr>
            <p:cNvSpPr/>
            <p:nvPr/>
          </p:nvSpPr>
          <p:spPr>
            <a:xfrm>
              <a:off x="1258575" y="3801532"/>
              <a:ext cx="442782" cy="806337"/>
            </a:xfrm>
            <a:custGeom>
              <a:avLst/>
              <a:gdLst>
                <a:gd name="connsiteX0" fmla="*/ 435530 w 442782"/>
                <a:gd name="connsiteY0" fmla="*/ 806338 h 806337"/>
                <a:gd name="connsiteX1" fmla="*/ 0 w 442782"/>
                <a:gd name="connsiteY1" fmla="*/ 806338 h 806337"/>
                <a:gd name="connsiteX2" fmla="*/ 0 w 442782"/>
                <a:gd name="connsiteY2" fmla="*/ 144631 h 806337"/>
                <a:gd name="connsiteX3" fmla="*/ 279610 w 442782"/>
                <a:gd name="connsiteY3" fmla="*/ 6489 h 806337"/>
                <a:gd name="connsiteX4" fmla="*/ 442782 w 442782"/>
                <a:gd name="connsiteY4" fmla="*/ 138589 h 806337"/>
                <a:gd name="connsiteX5" fmla="*/ 435530 w 442782"/>
                <a:gd name="connsiteY5" fmla="*/ 806338 h 80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2782" h="806337">
                  <a:moveTo>
                    <a:pt x="435530" y="806338"/>
                  </a:moveTo>
                  <a:lnTo>
                    <a:pt x="0" y="806338"/>
                  </a:lnTo>
                  <a:lnTo>
                    <a:pt x="0" y="144631"/>
                  </a:lnTo>
                  <a:cubicBezTo>
                    <a:pt x="124495" y="-45464"/>
                    <a:pt x="279610" y="6489"/>
                    <a:pt x="279610" y="6489"/>
                  </a:cubicBezTo>
                  <a:cubicBezTo>
                    <a:pt x="279610" y="6489"/>
                    <a:pt x="420623" y="8906"/>
                    <a:pt x="442782" y="138589"/>
                  </a:cubicBezTo>
                  <a:cubicBezTo>
                    <a:pt x="442782" y="231623"/>
                    <a:pt x="435530" y="806338"/>
                    <a:pt x="435530" y="806338"/>
                  </a:cubicBezTo>
                </a:path>
              </a:pathLst>
            </a:custGeom>
            <a:solidFill>
              <a:srgbClr val="F7A60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8" name="Forme libre 377">
              <a:extLst>
                <a:ext uri="{FF2B5EF4-FFF2-40B4-BE49-F238E27FC236}">
                  <a16:creationId xmlns:a16="http://schemas.microsoft.com/office/drawing/2014/main" id="{4CEFC6AC-A1A7-3F40-BBFA-C2EECD7F26BC}"/>
                </a:ext>
              </a:extLst>
            </p:cNvPr>
            <p:cNvSpPr/>
            <p:nvPr/>
          </p:nvSpPr>
          <p:spPr>
            <a:xfrm>
              <a:off x="1485808" y="3723043"/>
              <a:ext cx="101932" cy="105173"/>
            </a:xfrm>
            <a:custGeom>
              <a:avLst/>
              <a:gdLst>
                <a:gd name="connsiteX0" fmla="*/ 5641 w 101932"/>
                <a:gd name="connsiteY0" fmla="*/ 0 h 105173"/>
                <a:gd name="connsiteX1" fmla="*/ 0 w 101932"/>
                <a:gd name="connsiteY1" fmla="*/ 82965 h 105173"/>
                <a:gd name="connsiteX2" fmla="*/ 2820 w 101932"/>
                <a:gd name="connsiteY2" fmla="*/ 85382 h 105173"/>
                <a:gd name="connsiteX3" fmla="*/ 100724 w 101932"/>
                <a:gd name="connsiteY3" fmla="*/ 86590 h 105173"/>
                <a:gd name="connsiteX4" fmla="*/ 101933 w 101932"/>
                <a:gd name="connsiteY4" fmla="*/ 24165 h 105173"/>
                <a:gd name="connsiteX5" fmla="*/ 5641 w 101932"/>
                <a:gd name="connsiteY5" fmla="*/ 0 h 105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1932" h="105173">
                  <a:moveTo>
                    <a:pt x="5641" y="0"/>
                  </a:moveTo>
                  <a:lnTo>
                    <a:pt x="0" y="82965"/>
                  </a:lnTo>
                  <a:lnTo>
                    <a:pt x="2820" y="85382"/>
                  </a:lnTo>
                  <a:cubicBezTo>
                    <a:pt x="30217" y="111157"/>
                    <a:pt x="72521" y="111963"/>
                    <a:pt x="100724" y="86590"/>
                  </a:cubicBezTo>
                  <a:lnTo>
                    <a:pt x="101933" y="24165"/>
                  </a:lnTo>
                  <a:lnTo>
                    <a:pt x="5641" y="0"/>
                  </a:lnTo>
                  <a:close/>
                </a:path>
              </a:pathLst>
            </a:custGeom>
            <a:solidFill>
              <a:srgbClr val="F4A08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79" name="Forme libre 378">
              <a:extLst>
                <a:ext uri="{FF2B5EF4-FFF2-40B4-BE49-F238E27FC236}">
                  <a16:creationId xmlns:a16="http://schemas.microsoft.com/office/drawing/2014/main" id="{6735DEF0-0B71-7949-8820-6D5C8CBB1B8B}"/>
                </a:ext>
              </a:extLst>
            </p:cNvPr>
            <p:cNvSpPr/>
            <p:nvPr/>
          </p:nvSpPr>
          <p:spPr>
            <a:xfrm>
              <a:off x="1460828" y="3549863"/>
              <a:ext cx="200218" cy="205284"/>
            </a:xfrm>
            <a:custGeom>
              <a:avLst/>
              <a:gdLst>
                <a:gd name="connsiteX0" fmla="*/ 0 w 200218"/>
                <a:gd name="connsiteY0" fmla="*/ 0 h 205284"/>
                <a:gd name="connsiteX1" fmla="*/ 6849 w 200218"/>
                <a:gd name="connsiteY1" fmla="*/ 136933 h 205284"/>
                <a:gd name="connsiteX2" fmla="*/ 25785 w 200218"/>
                <a:gd name="connsiteY2" fmla="*/ 163916 h 205284"/>
                <a:gd name="connsiteX3" fmla="*/ 28203 w 200218"/>
                <a:gd name="connsiteY3" fmla="*/ 173985 h 205284"/>
                <a:gd name="connsiteX4" fmla="*/ 150280 w 200218"/>
                <a:gd name="connsiteY4" fmla="*/ 202580 h 205284"/>
                <a:gd name="connsiteX5" fmla="*/ 184526 w 200218"/>
                <a:gd name="connsiteY5" fmla="*/ 18526 h 205284"/>
                <a:gd name="connsiteX6" fmla="*/ 0 w 200218"/>
                <a:gd name="connsiteY6" fmla="*/ 0 h 205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218" h="205284">
                  <a:moveTo>
                    <a:pt x="0" y="0"/>
                  </a:moveTo>
                  <a:lnTo>
                    <a:pt x="6849" y="136933"/>
                  </a:lnTo>
                  <a:cubicBezTo>
                    <a:pt x="20548" y="136530"/>
                    <a:pt x="28606" y="151029"/>
                    <a:pt x="25785" y="163916"/>
                  </a:cubicBezTo>
                  <a:cubicBezTo>
                    <a:pt x="27397" y="167138"/>
                    <a:pt x="27800" y="170360"/>
                    <a:pt x="28203" y="173985"/>
                  </a:cubicBezTo>
                  <a:cubicBezTo>
                    <a:pt x="51974" y="190900"/>
                    <a:pt x="95083" y="213051"/>
                    <a:pt x="150280" y="202580"/>
                  </a:cubicBezTo>
                  <a:cubicBezTo>
                    <a:pt x="236903" y="186067"/>
                    <a:pt x="184526" y="18526"/>
                    <a:pt x="184526" y="1852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0" name="Forme libre 379">
              <a:extLst>
                <a:ext uri="{FF2B5EF4-FFF2-40B4-BE49-F238E27FC236}">
                  <a16:creationId xmlns:a16="http://schemas.microsoft.com/office/drawing/2014/main" id="{942ECD3A-6BA6-ED41-8733-62110C6CCDF8}"/>
                </a:ext>
              </a:extLst>
            </p:cNvPr>
            <p:cNvSpPr/>
            <p:nvPr/>
          </p:nvSpPr>
          <p:spPr>
            <a:xfrm>
              <a:off x="1372529" y="3446365"/>
              <a:ext cx="336598" cy="279094"/>
            </a:xfrm>
            <a:custGeom>
              <a:avLst/>
              <a:gdLst>
                <a:gd name="connsiteX0" fmla="*/ 44786 w 336598"/>
                <a:gd name="connsiteY0" fmla="*/ 206198 h 279094"/>
                <a:gd name="connsiteX1" fmla="*/ 22627 w 336598"/>
                <a:gd name="connsiteY1" fmla="*/ 168340 h 279094"/>
                <a:gd name="connsiteX2" fmla="*/ 33102 w 336598"/>
                <a:gd name="connsiteY2" fmla="*/ 84972 h 279094"/>
                <a:gd name="connsiteX3" fmla="*/ 69363 w 336598"/>
                <a:gd name="connsiteY3" fmla="*/ 25366 h 279094"/>
                <a:gd name="connsiteX4" fmla="*/ 158000 w 336598"/>
                <a:gd name="connsiteY4" fmla="*/ 22144 h 279094"/>
                <a:gd name="connsiteX5" fmla="*/ 225283 w 336598"/>
                <a:gd name="connsiteY5" fmla="*/ 4424 h 279094"/>
                <a:gd name="connsiteX6" fmla="*/ 263558 w 336598"/>
                <a:gd name="connsiteY6" fmla="*/ 55169 h 279094"/>
                <a:gd name="connsiteX7" fmla="*/ 323187 w 336598"/>
                <a:gd name="connsiteY7" fmla="*/ 69668 h 279094"/>
                <a:gd name="connsiteX8" fmla="*/ 278063 w 336598"/>
                <a:gd name="connsiteY8" fmla="*/ 141759 h 279094"/>
                <a:gd name="connsiteX9" fmla="*/ 160820 w 336598"/>
                <a:gd name="connsiteY9" fmla="*/ 136523 h 279094"/>
                <a:gd name="connsiteX10" fmla="*/ 135035 w 336598"/>
                <a:gd name="connsiteY10" fmla="*/ 142967 h 279094"/>
                <a:gd name="connsiteX11" fmla="*/ 118919 w 336598"/>
                <a:gd name="connsiteY11" fmla="*/ 279095 h 279094"/>
                <a:gd name="connsiteX12" fmla="*/ 96760 w 336598"/>
                <a:gd name="connsiteY12" fmla="*/ 260568 h 279094"/>
                <a:gd name="connsiteX13" fmla="*/ 44786 w 336598"/>
                <a:gd name="connsiteY13" fmla="*/ 206198 h 279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36598" h="279094">
                  <a:moveTo>
                    <a:pt x="44786" y="206198"/>
                  </a:moveTo>
                  <a:cubicBezTo>
                    <a:pt x="43980" y="196129"/>
                    <a:pt x="30282" y="174784"/>
                    <a:pt x="22627" y="168340"/>
                  </a:cubicBezTo>
                  <a:cubicBezTo>
                    <a:pt x="-26527" y="126052"/>
                    <a:pt x="17389" y="95041"/>
                    <a:pt x="33102" y="84972"/>
                  </a:cubicBezTo>
                  <a:cubicBezTo>
                    <a:pt x="50427" y="74098"/>
                    <a:pt x="46800" y="42684"/>
                    <a:pt x="69363" y="25366"/>
                  </a:cubicBezTo>
                  <a:cubicBezTo>
                    <a:pt x="103609" y="-1215"/>
                    <a:pt x="136243" y="26172"/>
                    <a:pt x="158000" y="22144"/>
                  </a:cubicBezTo>
                  <a:cubicBezTo>
                    <a:pt x="179756" y="18117"/>
                    <a:pt x="193454" y="-10881"/>
                    <a:pt x="225283" y="4424"/>
                  </a:cubicBezTo>
                  <a:cubicBezTo>
                    <a:pt x="257112" y="19728"/>
                    <a:pt x="253486" y="44698"/>
                    <a:pt x="263558" y="55169"/>
                  </a:cubicBezTo>
                  <a:cubicBezTo>
                    <a:pt x="273631" y="65641"/>
                    <a:pt x="292567" y="36643"/>
                    <a:pt x="323187" y="69668"/>
                  </a:cubicBezTo>
                  <a:cubicBezTo>
                    <a:pt x="370326" y="120011"/>
                    <a:pt x="278063" y="141759"/>
                    <a:pt x="278063" y="141759"/>
                  </a:cubicBezTo>
                  <a:cubicBezTo>
                    <a:pt x="278063" y="141759"/>
                    <a:pt x="227701" y="162702"/>
                    <a:pt x="160820" y="136523"/>
                  </a:cubicBezTo>
                  <a:cubicBezTo>
                    <a:pt x="151553" y="132899"/>
                    <a:pt x="140675" y="134912"/>
                    <a:pt x="135035" y="142967"/>
                  </a:cubicBezTo>
                  <a:cubicBezTo>
                    <a:pt x="118919" y="164715"/>
                    <a:pt x="118919" y="279095"/>
                    <a:pt x="118919" y="279095"/>
                  </a:cubicBezTo>
                  <a:lnTo>
                    <a:pt x="96760" y="260568"/>
                  </a:lnTo>
                  <a:cubicBezTo>
                    <a:pt x="96357" y="260568"/>
                    <a:pt x="48009" y="252111"/>
                    <a:pt x="44786" y="206198"/>
                  </a:cubicBezTo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1" name="Forme libre 380">
              <a:extLst>
                <a:ext uri="{FF2B5EF4-FFF2-40B4-BE49-F238E27FC236}">
                  <a16:creationId xmlns:a16="http://schemas.microsoft.com/office/drawing/2014/main" id="{8BE7665D-EA7F-574F-8F1D-2B3308180D06}"/>
                </a:ext>
              </a:extLst>
            </p:cNvPr>
            <p:cNvSpPr/>
            <p:nvPr/>
          </p:nvSpPr>
          <p:spPr>
            <a:xfrm>
              <a:off x="1467713" y="3635045"/>
              <a:ext cx="42065" cy="42049"/>
            </a:xfrm>
            <a:custGeom>
              <a:avLst/>
              <a:gdLst>
                <a:gd name="connsiteX0" fmla="*/ 1576 w 42065"/>
                <a:gd name="connsiteY0" fmla="*/ 28795 h 42049"/>
                <a:gd name="connsiteX1" fmla="*/ 28973 w 42065"/>
                <a:gd name="connsiteY1" fmla="*/ 40474 h 42049"/>
                <a:gd name="connsiteX2" fmla="*/ 40657 w 42065"/>
                <a:gd name="connsiteY2" fmla="*/ 13088 h 42049"/>
                <a:gd name="connsiteX3" fmla="*/ 13260 w 42065"/>
                <a:gd name="connsiteY3" fmla="*/ 1408 h 42049"/>
                <a:gd name="connsiteX4" fmla="*/ 1576 w 42065"/>
                <a:gd name="connsiteY4" fmla="*/ 28795 h 42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065" h="42049">
                  <a:moveTo>
                    <a:pt x="1576" y="28795"/>
                  </a:moveTo>
                  <a:cubicBezTo>
                    <a:pt x="6008" y="39669"/>
                    <a:pt x="18095" y="44904"/>
                    <a:pt x="28973" y="40474"/>
                  </a:cubicBezTo>
                  <a:cubicBezTo>
                    <a:pt x="39851" y="36044"/>
                    <a:pt x="44686" y="23962"/>
                    <a:pt x="40657" y="13088"/>
                  </a:cubicBezTo>
                  <a:cubicBezTo>
                    <a:pt x="36225" y="2213"/>
                    <a:pt x="24138" y="-2619"/>
                    <a:pt x="13260" y="1408"/>
                  </a:cubicBezTo>
                  <a:cubicBezTo>
                    <a:pt x="2382" y="5838"/>
                    <a:pt x="-2856" y="17920"/>
                    <a:pt x="1576" y="28795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2" name="Forme libre 381">
              <a:extLst>
                <a:ext uri="{FF2B5EF4-FFF2-40B4-BE49-F238E27FC236}">
                  <a16:creationId xmlns:a16="http://schemas.microsoft.com/office/drawing/2014/main" id="{1309197A-2B0F-4241-9555-6CA503510BE4}"/>
                </a:ext>
              </a:extLst>
            </p:cNvPr>
            <p:cNvSpPr/>
            <p:nvPr/>
          </p:nvSpPr>
          <p:spPr>
            <a:xfrm>
              <a:off x="1513607" y="5781061"/>
              <a:ext cx="87831" cy="86822"/>
            </a:xfrm>
            <a:custGeom>
              <a:avLst/>
              <a:gdLst>
                <a:gd name="connsiteX0" fmla="*/ 87831 w 87831"/>
                <a:gd name="connsiteY0" fmla="*/ 0 h 86822"/>
                <a:gd name="connsiteX1" fmla="*/ 81788 w 87831"/>
                <a:gd name="connsiteY1" fmla="*/ 74105 h 86822"/>
                <a:gd name="connsiteX2" fmla="*/ 4432 w 87831"/>
                <a:gd name="connsiteY2" fmla="*/ 76521 h 86822"/>
                <a:gd name="connsiteX3" fmla="*/ 0 w 87831"/>
                <a:gd name="connsiteY3" fmla="*/ 74105 h 86822"/>
                <a:gd name="connsiteX4" fmla="*/ 0 w 87831"/>
                <a:gd name="connsiteY4" fmla="*/ 0 h 86822"/>
                <a:gd name="connsiteX5" fmla="*/ 87831 w 87831"/>
                <a:gd name="connsiteY5" fmla="*/ 0 h 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831" h="86822">
                  <a:moveTo>
                    <a:pt x="87831" y="0"/>
                  </a:moveTo>
                  <a:lnTo>
                    <a:pt x="81788" y="74105"/>
                  </a:lnTo>
                  <a:cubicBezTo>
                    <a:pt x="58823" y="90214"/>
                    <a:pt x="28606" y="91020"/>
                    <a:pt x="4432" y="76521"/>
                  </a:cubicBezTo>
                  <a:lnTo>
                    <a:pt x="0" y="74105"/>
                  </a:lnTo>
                  <a:lnTo>
                    <a:pt x="0" y="0"/>
                  </a:lnTo>
                  <a:lnTo>
                    <a:pt x="87831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3" name="Forme libre 382">
              <a:extLst>
                <a:ext uri="{FF2B5EF4-FFF2-40B4-BE49-F238E27FC236}">
                  <a16:creationId xmlns:a16="http://schemas.microsoft.com/office/drawing/2014/main" id="{19537DC7-6B79-7144-907C-1FDD666C3DB7}"/>
                </a:ext>
              </a:extLst>
            </p:cNvPr>
            <p:cNvSpPr/>
            <p:nvPr/>
          </p:nvSpPr>
          <p:spPr>
            <a:xfrm>
              <a:off x="1174966" y="5851944"/>
              <a:ext cx="247184" cy="96255"/>
            </a:xfrm>
            <a:custGeom>
              <a:avLst/>
              <a:gdLst>
                <a:gd name="connsiteX0" fmla="*/ 87235 w 247184"/>
                <a:gd name="connsiteY0" fmla="*/ 0 h 96255"/>
                <a:gd name="connsiteX1" fmla="*/ 203269 w 247184"/>
                <a:gd name="connsiteY1" fmla="*/ 52357 h 96255"/>
                <a:gd name="connsiteX2" fmla="*/ 247185 w 247184"/>
                <a:gd name="connsiteY2" fmla="*/ 96256 h 96255"/>
                <a:gd name="connsiteX3" fmla="*/ 152504 w 247184"/>
                <a:gd name="connsiteY3" fmla="*/ 96256 h 96255"/>
                <a:gd name="connsiteX4" fmla="*/ 55809 w 247184"/>
                <a:gd name="connsiteY4" fmla="*/ 79743 h 96255"/>
                <a:gd name="connsiteX5" fmla="*/ 55809 w 247184"/>
                <a:gd name="connsiteY5" fmla="*/ 96256 h 96255"/>
                <a:gd name="connsiteX6" fmla="*/ 3433 w 247184"/>
                <a:gd name="connsiteY6" fmla="*/ 96256 h 96255"/>
                <a:gd name="connsiteX7" fmla="*/ 19549 w 247184"/>
                <a:gd name="connsiteY7" fmla="*/ 0 h 96255"/>
                <a:gd name="connsiteX8" fmla="*/ 87235 w 247184"/>
                <a:gd name="connsiteY8" fmla="*/ 0 h 9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184" h="96255">
                  <a:moveTo>
                    <a:pt x="87235" y="0"/>
                  </a:moveTo>
                  <a:cubicBezTo>
                    <a:pt x="87235" y="0"/>
                    <a:pt x="107380" y="28192"/>
                    <a:pt x="203269" y="52357"/>
                  </a:cubicBezTo>
                  <a:cubicBezTo>
                    <a:pt x="224220" y="57592"/>
                    <a:pt x="247185" y="61217"/>
                    <a:pt x="247185" y="96256"/>
                  </a:cubicBezTo>
                  <a:lnTo>
                    <a:pt x="152504" y="96256"/>
                  </a:lnTo>
                  <a:lnTo>
                    <a:pt x="55809" y="79743"/>
                  </a:lnTo>
                  <a:lnTo>
                    <a:pt x="55809" y="96256"/>
                  </a:lnTo>
                  <a:lnTo>
                    <a:pt x="3433" y="96256"/>
                  </a:lnTo>
                  <a:cubicBezTo>
                    <a:pt x="3433" y="96256"/>
                    <a:pt x="-11072" y="10874"/>
                    <a:pt x="19549" y="0"/>
                  </a:cubicBezTo>
                  <a:lnTo>
                    <a:pt x="87235" y="0"/>
                  </a:lnTo>
                  <a:close/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4" name="Forme libre 383">
              <a:extLst>
                <a:ext uri="{FF2B5EF4-FFF2-40B4-BE49-F238E27FC236}">
                  <a16:creationId xmlns:a16="http://schemas.microsoft.com/office/drawing/2014/main" id="{19268D79-8CE4-4240-96A6-A598EA88D796}"/>
                </a:ext>
              </a:extLst>
            </p:cNvPr>
            <p:cNvSpPr/>
            <p:nvPr/>
          </p:nvSpPr>
          <p:spPr>
            <a:xfrm>
              <a:off x="1188874" y="5781061"/>
              <a:ext cx="87831" cy="86822"/>
            </a:xfrm>
            <a:custGeom>
              <a:avLst/>
              <a:gdLst>
                <a:gd name="connsiteX0" fmla="*/ 87831 w 87831"/>
                <a:gd name="connsiteY0" fmla="*/ 0 h 86822"/>
                <a:gd name="connsiteX1" fmla="*/ 81788 w 87831"/>
                <a:gd name="connsiteY1" fmla="*/ 74105 h 86822"/>
                <a:gd name="connsiteX2" fmla="*/ 4432 w 87831"/>
                <a:gd name="connsiteY2" fmla="*/ 76521 h 86822"/>
                <a:gd name="connsiteX3" fmla="*/ 0 w 87831"/>
                <a:gd name="connsiteY3" fmla="*/ 74105 h 86822"/>
                <a:gd name="connsiteX4" fmla="*/ 0 w 87831"/>
                <a:gd name="connsiteY4" fmla="*/ 0 h 86822"/>
                <a:gd name="connsiteX5" fmla="*/ 87831 w 87831"/>
                <a:gd name="connsiteY5" fmla="*/ 0 h 86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831" h="86822">
                  <a:moveTo>
                    <a:pt x="87831" y="0"/>
                  </a:moveTo>
                  <a:lnTo>
                    <a:pt x="81788" y="74105"/>
                  </a:lnTo>
                  <a:cubicBezTo>
                    <a:pt x="58823" y="90214"/>
                    <a:pt x="28606" y="91020"/>
                    <a:pt x="4432" y="76521"/>
                  </a:cubicBezTo>
                  <a:lnTo>
                    <a:pt x="0" y="74105"/>
                  </a:lnTo>
                  <a:lnTo>
                    <a:pt x="0" y="0"/>
                  </a:lnTo>
                  <a:lnTo>
                    <a:pt x="87831" y="0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5" name="Forme libre 384">
              <a:extLst>
                <a:ext uri="{FF2B5EF4-FFF2-40B4-BE49-F238E27FC236}">
                  <a16:creationId xmlns:a16="http://schemas.microsoft.com/office/drawing/2014/main" id="{5759160E-656B-1449-8FD7-9B5B7776CD7F}"/>
                </a:ext>
              </a:extLst>
            </p:cNvPr>
            <p:cNvSpPr/>
            <p:nvPr/>
          </p:nvSpPr>
          <p:spPr>
            <a:xfrm>
              <a:off x="1209883" y="3946163"/>
              <a:ext cx="477372" cy="584860"/>
            </a:xfrm>
            <a:custGeom>
              <a:avLst/>
              <a:gdLst>
                <a:gd name="connsiteX0" fmla="*/ 48692 w 477372"/>
                <a:gd name="connsiteY0" fmla="*/ 0 h 584860"/>
                <a:gd name="connsiteX1" fmla="*/ 84550 w 477372"/>
                <a:gd name="connsiteY1" fmla="*/ 455503 h 584860"/>
                <a:gd name="connsiteX2" fmla="*/ 477373 w 477372"/>
                <a:gd name="connsiteY2" fmla="*/ 583172 h 584860"/>
                <a:gd name="connsiteX3" fmla="*/ 477373 w 477372"/>
                <a:gd name="connsiteY3" fmla="*/ 496180 h 584860"/>
                <a:gd name="connsiteX4" fmla="*/ 207433 w 477372"/>
                <a:gd name="connsiteY4" fmla="*/ 342332 h 584860"/>
                <a:gd name="connsiteX5" fmla="*/ 233621 w 477372"/>
                <a:gd name="connsiteY5" fmla="*/ 87395 h 58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7372" h="584860">
                  <a:moveTo>
                    <a:pt x="48692" y="0"/>
                  </a:moveTo>
                  <a:cubicBezTo>
                    <a:pt x="48692" y="0"/>
                    <a:pt x="-81846" y="301252"/>
                    <a:pt x="84550" y="455503"/>
                  </a:cubicBezTo>
                  <a:cubicBezTo>
                    <a:pt x="251348" y="609351"/>
                    <a:pt x="477373" y="583172"/>
                    <a:pt x="477373" y="583172"/>
                  </a:cubicBezTo>
                  <a:lnTo>
                    <a:pt x="477373" y="496180"/>
                  </a:lnTo>
                  <a:cubicBezTo>
                    <a:pt x="477373" y="496180"/>
                    <a:pt x="272702" y="478862"/>
                    <a:pt x="207433" y="342332"/>
                  </a:cubicBezTo>
                  <a:cubicBezTo>
                    <a:pt x="141761" y="205802"/>
                    <a:pt x="233621" y="87395"/>
                    <a:pt x="233621" y="87395"/>
                  </a:cubicBezTo>
                </a:path>
              </a:pathLst>
            </a:custGeom>
            <a:solidFill>
              <a:srgbClr val="F7A60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6" name="Forme libre 385">
              <a:extLst>
                <a:ext uri="{FF2B5EF4-FFF2-40B4-BE49-F238E27FC236}">
                  <a16:creationId xmlns:a16="http://schemas.microsoft.com/office/drawing/2014/main" id="{34011D9A-BBDB-EC46-A430-F40811DA35EF}"/>
                </a:ext>
              </a:extLst>
            </p:cNvPr>
            <p:cNvSpPr/>
            <p:nvPr/>
          </p:nvSpPr>
          <p:spPr>
            <a:xfrm>
              <a:off x="1674363" y="4395613"/>
              <a:ext cx="182241" cy="123653"/>
            </a:xfrm>
            <a:custGeom>
              <a:avLst/>
              <a:gdLst>
                <a:gd name="connsiteX0" fmla="*/ 0 w 182241"/>
                <a:gd name="connsiteY0" fmla="*/ 121639 h 123653"/>
                <a:gd name="connsiteX1" fmla="*/ 104350 w 182241"/>
                <a:gd name="connsiteY1" fmla="*/ 123653 h 123653"/>
                <a:gd name="connsiteX2" fmla="*/ 182109 w 182241"/>
                <a:gd name="connsiteY2" fmla="*/ 10885 h 123653"/>
                <a:gd name="connsiteX3" fmla="*/ 169619 w 182241"/>
                <a:gd name="connsiteY3" fmla="*/ 413 h 123653"/>
                <a:gd name="connsiteX4" fmla="*/ 19742 w 182241"/>
                <a:gd name="connsiteY4" fmla="*/ 59617 h 123653"/>
                <a:gd name="connsiteX5" fmla="*/ 0 w 182241"/>
                <a:gd name="connsiteY5" fmla="*/ 121639 h 123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241" h="123653">
                  <a:moveTo>
                    <a:pt x="0" y="121639"/>
                  </a:moveTo>
                  <a:lnTo>
                    <a:pt x="104350" y="123653"/>
                  </a:lnTo>
                  <a:cubicBezTo>
                    <a:pt x="146654" y="121236"/>
                    <a:pt x="174857" y="58006"/>
                    <a:pt x="182109" y="10885"/>
                  </a:cubicBezTo>
                  <a:cubicBezTo>
                    <a:pt x="183318" y="4038"/>
                    <a:pt x="176065" y="-1600"/>
                    <a:pt x="169619" y="413"/>
                  </a:cubicBezTo>
                  <a:cubicBezTo>
                    <a:pt x="134164" y="12496"/>
                    <a:pt x="43110" y="45118"/>
                    <a:pt x="19742" y="59617"/>
                  </a:cubicBezTo>
                  <a:lnTo>
                    <a:pt x="0" y="121639"/>
                  </a:lnTo>
                  <a:close/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7" name="Forme libre 386">
              <a:extLst>
                <a:ext uri="{FF2B5EF4-FFF2-40B4-BE49-F238E27FC236}">
                  <a16:creationId xmlns:a16="http://schemas.microsoft.com/office/drawing/2014/main" id="{3C43E0D1-593F-934F-8B1B-797FAC2C3221}"/>
                </a:ext>
              </a:extLst>
            </p:cNvPr>
            <p:cNvSpPr/>
            <p:nvPr/>
          </p:nvSpPr>
          <p:spPr>
            <a:xfrm>
              <a:off x="1408855" y="4607870"/>
              <a:ext cx="327402" cy="1207826"/>
            </a:xfrm>
            <a:custGeom>
              <a:avLst/>
              <a:gdLst>
                <a:gd name="connsiteX0" fmla="*/ 285250 w 327402"/>
                <a:gd name="connsiteY0" fmla="*/ 0 h 1207826"/>
                <a:gd name="connsiteX1" fmla="*/ 202656 w 327402"/>
                <a:gd name="connsiteY1" fmla="*/ 1207827 h 1207826"/>
                <a:gd name="connsiteX2" fmla="*/ 96292 w 327402"/>
                <a:gd name="connsiteY2" fmla="*/ 1207827 h 1207826"/>
                <a:gd name="connsiteX3" fmla="*/ 0 w 327402"/>
                <a:gd name="connsiteY3" fmla="*/ 0 h 1207826"/>
                <a:gd name="connsiteX4" fmla="*/ 285250 w 327402"/>
                <a:gd name="connsiteY4" fmla="*/ 0 h 120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7402" h="1207826">
                  <a:moveTo>
                    <a:pt x="285250" y="0"/>
                  </a:moveTo>
                  <a:cubicBezTo>
                    <a:pt x="415385" y="366899"/>
                    <a:pt x="202656" y="1207827"/>
                    <a:pt x="202656" y="1207827"/>
                  </a:cubicBezTo>
                  <a:lnTo>
                    <a:pt x="96292" y="1207827"/>
                  </a:lnTo>
                  <a:cubicBezTo>
                    <a:pt x="96292" y="1207827"/>
                    <a:pt x="151086" y="26984"/>
                    <a:pt x="0" y="0"/>
                  </a:cubicBezTo>
                  <a:lnTo>
                    <a:pt x="285250" y="0"/>
                  </a:lnTo>
                  <a:close/>
                </a:path>
              </a:pathLst>
            </a:custGeom>
            <a:solidFill>
              <a:srgbClr val="00666B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8" name="Forme libre 387">
              <a:extLst>
                <a:ext uri="{FF2B5EF4-FFF2-40B4-BE49-F238E27FC236}">
                  <a16:creationId xmlns:a16="http://schemas.microsoft.com/office/drawing/2014/main" id="{BA0C3FF3-7B2C-7743-B1EC-942833B7961F}"/>
                </a:ext>
              </a:extLst>
            </p:cNvPr>
            <p:cNvSpPr/>
            <p:nvPr/>
          </p:nvSpPr>
          <p:spPr>
            <a:xfrm>
              <a:off x="1210630" y="4197072"/>
              <a:ext cx="487906" cy="335313"/>
            </a:xfrm>
            <a:custGeom>
              <a:avLst/>
              <a:gdLst>
                <a:gd name="connsiteX0" fmla="*/ 183720 w 487906"/>
                <a:gd name="connsiteY0" fmla="*/ 0 h 335313"/>
                <a:gd name="connsiteX1" fmla="*/ 207088 w 487906"/>
                <a:gd name="connsiteY1" fmla="*/ 91020 h 335313"/>
                <a:gd name="connsiteX2" fmla="*/ 487907 w 487906"/>
                <a:gd name="connsiteY2" fmla="*/ 246076 h 335313"/>
                <a:gd name="connsiteX3" fmla="*/ 487907 w 487906"/>
                <a:gd name="connsiteY3" fmla="*/ 333874 h 335313"/>
                <a:gd name="connsiteX4" fmla="*/ 84205 w 487906"/>
                <a:gd name="connsiteY4" fmla="*/ 204594 h 335313"/>
                <a:gd name="connsiteX5" fmla="*/ 0 w 487906"/>
                <a:gd name="connsiteY5" fmla="*/ 403 h 335313"/>
                <a:gd name="connsiteX6" fmla="*/ 183720 w 487906"/>
                <a:gd name="connsiteY6" fmla="*/ 403 h 335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7906" h="335313">
                  <a:moveTo>
                    <a:pt x="183720" y="0"/>
                  </a:moveTo>
                  <a:cubicBezTo>
                    <a:pt x="184929" y="28595"/>
                    <a:pt x="191778" y="59203"/>
                    <a:pt x="207088" y="91020"/>
                  </a:cubicBezTo>
                  <a:cubicBezTo>
                    <a:pt x="272357" y="227953"/>
                    <a:pt x="487907" y="246076"/>
                    <a:pt x="487907" y="246076"/>
                  </a:cubicBezTo>
                  <a:lnTo>
                    <a:pt x="487907" y="333874"/>
                  </a:lnTo>
                  <a:cubicBezTo>
                    <a:pt x="487907" y="333874"/>
                    <a:pt x="251004" y="358442"/>
                    <a:pt x="84205" y="204594"/>
                  </a:cubicBezTo>
                  <a:cubicBezTo>
                    <a:pt x="23771" y="148612"/>
                    <a:pt x="2417" y="73702"/>
                    <a:pt x="0" y="403"/>
                  </a:cubicBezTo>
                  <a:lnTo>
                    <a:pt x="183720" y="403"/>
                  </a:lnTo>
                  <a:close/>
                </a:path>
              </a:pathLst>
            </a:custGeom>
            <a:solidFill>
              <a:srgbClr val="FFDB71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89" name="Forme libre 388">
              <a:extLst>
                <a:ext uri="{FF2B5EF4-FFF2-40B4-BE49-F238E27FC236}">
                  <a16:creationId xmlns:a16="http://schemas.microsoft.com/office/drawing/2014/main" id="{8D325606-3658-7941-B032-AB7B9CBD47B9}"/>
                </a:ext>
              </a:extLst>
            </p:cNvPr>
            <p:cNvSpPr/>
            <p:nvPr/>
          </p:nvSpPr>
          <p:spPr>
            <a:xfrm>
              <a:off x="1381174" y="4026309"/>
              <a:ext cx="62732" cy="184053"/>
            </a:xfrm>
            <a:custGeom>
              <a:avLst/>
              <a:gdLst>
                <a:gd name="connsiteX0" fmla="*/ 14385 w 62732"/>
                <a:gd name="connsiteY0" fmla="*/ 184054 h 184053"/>
                <a:gd name="connsiteX1" fmla="*/ 687 w 62732"/>
                <a:gd name="connsiteY1" fmla="*/ 178013 h 184053"/>
                <a:gd name="connsiteX2" fmla="*/ 52661 w 62732"/>
                <a:gd name="connsiteY2" fmla="*/ 0 h 184053"/>
                <a:gd name="connsiteX3" fmla="*/ 62733 w 62732"/>
                <a:gd name="connsiteY3" fmla="*/ 8055 h 184053"/>
                <a:gd name="connsiteX4" fmla="*/ 14385 w 62732"/>
                <a:gd name="connsiteY4" fmla="*/ 184054 h 184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732" h="184053">
                  <a:moveTo>
                    <a:pt x="14385" y="184054"/>
                  </a:moveTo>
                  <a:cubicBezTo>
                    <a:pt x="9954" y="182040"/>
                    <a:pt x="5119" y="180026"/>
                    <a:pt x="687" y="178013"/>
                  </a:cubicBezTo>
                  <a:cubicBezTo>
                    <a:pt x="-6968" y="76924"/>
                    <a:pt x="51855" y="806"/>
                    <a:pt x="52661" y="0"/>
                  </a:cubicBezTo>
                  <a:lnTo>
                    <a:pt x="62733" y="8055"/>
                  </a:lnTo>
                  <a:cubicBezTo>
                    <a:pt x="61927" y="8860"/>
                    <a:pt x="3104" y="84576"/>
                    <a:pt x="14385" y="184054"/>
                  </a:cubicBezTo>
                </a:path>
              </a:pathLst>
            </a:custGeom>
            <a:solidFill>
              <a:srgbClr val="F18812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0" name="Forme libre 389">
              <a:extLst>
                <a:ext uri="{FF2B5EF4-FFF2-40B4-BE49-F238E27FC236}">
                  <a16:creationId xmlns:a16="http://schemas.microsoft.com/office/drawing/2014/main" id="{FE022234-2F80-B94F-B30B-B15E704724F5}"/>
                </a:ext>
              </a:extLst>
            </p:cNvPr>
            <p:cNvSpPr/>
            <p:nvPr/>
          </p:nvSpPr>
          <p:spPr>
            <a:xfrm>
              <a:off x="1896761" y="3601004"/>
              <a:ext cx="55751" cy="181528"/>
            </a:xfrm>
            <a:custGeom>
              <a:avLst/>
              <a:gdLst>
                <a:gd name="connsiteX0" fmla="*/ 52376 w 55751"/>
                <a:gd name="connsiteY0" fmla="*/ 83375 h 181528"/>
                <a:gd name="connsiteX1" fmla="*/ 24577 w 55751"/>
                <a:gd name="connsiteY1" fmla="*/ 32227 h 181528"/>
                <a:gd name="connsiteX2" fmla="*/ 0 w 55751"/>
                <a:gd name="connsiteY2" fmla="*/ 2021 h 181528"/>
                <a:gd name="connsiteX3" fmla="*/ 38275 w 55751"/>
                <a:gd name="connsiteY3" fmla="*/ 181242 h 181528"/>
                <a:gd name="connsiteX4" fmla="*/ 52376 w 55751"/>
                <a:gd name="connsiteY4" fmla="*/ 83375 h 18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751" h="181528">
                  <a:moveTo>
                    <a:pt x="52376" y="83375"/>
                  </a:moveTo>
                  <a:cubicBezTo>
                    <a:pt x="52376" y="83375"/>
                    <a:pt x="28203" y="76126"/>
                    <a:pt x="24577" y="32227"/>
                  </a:cubicBezTo>
                  <a:cubicBezTo>
                    <a:pt x="20950" y="-11672"/>
                    <a:pt x="0" y="2021"/>
                    <a:pt x="0" y="2021"/>
                  </a:cubicBezTo>
                  <a:cubicBezTo>
                    <a:pt x="0" y="2021"/>
                    <a:pt x="10878" y="174798"/>
                    <a:pt x="38275" y="181242"/>
                  </a:cubicBezTo>
                  <a:cubicBezTo>
                    <a:pt x="66075" y="187686"/>
                    <a:pt x="52376" y="83375"/>
                    <a:pt x="52376" y="83375"/>
                  </a:cubicBezTo>
                </a:path>
              </a:pathLst>
            </a:custGeom>
            <a:solidFill>
              <a:srgbClr val="F8B68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1" name="Forme libre 390">
              <a:extLst>
                <a:ext uri="{FF2B5EF4-FFF2-40B4-BE49-F238E27FC236}">
                  <a16:creationId xmlns:a16="http://schemas.microsoft.com/office/drawing/2014/main" id="{F8BE3F11-8B7E-7849-90FD-1F852AC1C346}"/>
                </a:ext>
              </a:extLst>
            </p:cNvPr>
            <p:cNvSpPr/>
            <p:nvPr/>
          </p:nvSpPr>
          <p:spPr>
            <a:xfrm>
              <a:off x="1186053" y="4607870"/>
              <a:ext cx="382784" cy="1207826"/>
            </a:xfrm>
            <a:custGeom>
              <a:avLst/>
              <a:gdLst>
                <a:gd name="connsiteX0" fmla="*/ 379931 w 382784"/>
                <a:gd name="connsiteY0" fmla="*/ 0 h 1207826"/>
                <a:gd name="connsiteX1" fmla="*/ 108782 w 382784"/>
                <a:gd name="connsiteY1" fmla="*/ 1207827 h 1207826"/>
                <a:gd name="connsiteX2" fmla="*/ 0 w 382784"/>
                <a:gd name="connsiteY2" fmla="*/ 1207827 h 1207826"/>
                <a:gd name="connsiteX3" fmla="*/ 85817 w 382784"/>
                <a:gd name="connsiteY3" fmla="*/ 275074 h 1207826"/>
                <a:gd name="connsiteX4" fmla="*/ 72118 w 382784"/>
                <a:gd name="connsiteY4" fmla="*/ 0 h 1207826"/>
                <a:gd name="connsiteX5" fmla="*/ 379931 w 382784"/>
                <a:gd name="connsiteY5" fmla="*/ 0 h 120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2784" h="1207826">
                  <a:moveTo>
                    <a:pt x="379931" y="0"/>
                  </a:moveTo>
                  <a:cubicBezTo>
                    <a:pt x="415385" y="449864"/>
                    <a:pt x="108782" y="1207827"/>
                    <a:pt x="108782" y="1207827"/>
                  </a:cubicBezTo>
                  <a:lnTo>
                    <a:pt x="0" y="1207827"/>
                  </a:lnTo>
                  <a:cubicBezTo>
                    <a:pt x="0" y="1207827"/>
                    <a:pt x="83802" y="712856"/>
                    <a:pt x="85817" y="275074"/>
                  </a:cubicBezTo>
                  <a:cubicBezTo>
                    <a:pt x="86220" y="180429"/>
                    <a:pt x="82191" y="86992"/>
                    <a:pt x="72118" y="0"/>
                  </a:cubicBezTo>
                  <a:lnTo>
                    <a:pt x="379931" y="0"/>
                  </a:lnTo>
                  <a:close/>
                </a:path>
              </a:pathLst>
            </a:custGeom>
            <a:solidFill>
              <a:srgbClr val="00898C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92" name="Forme libre 391">
              <a:extLst>
                <a:ext uri="{FF2B5EF4-FFF2-40B4-BE49-F238E27FC236}">
                  <a16:creationId xmlns:a16="http://schemas.microsoft.com/office/drawing/2014/main" id="{1D07E703-0823-564C-B104-8B401B0C9D21}"/>
                </a:ext>
              </a:extLst>
            </p:cNvPr>
            <p:cNvSpPr/>
            <p:nvPr/>
          </p:nvSpPr>
          <p:spPr>
            <a:xfrm>
              <a:off x="1508160" y="5851944"/>
              <a:ext cx="247184" cy="96255"/>
            </a:xfrm>
            <a:custGeom>
              <a:avLst/>
              <a:gdLst>
                <a:gd name="connsiteX0" fmla="*/ 87235 w 247184"/>
                <a:gd name="connsiteY0" fmla="*/ 0 h 96255"/>
                <a:gd name="connsiteX1" fmla="*/ 203269 w 247184"/>
                <a:gd name="connsiteY1" fmla="*/ 52357 h 96255"/>
                <a:gd name="connsiteX2" fmla="*/ 247185 w 247184"/>
                <a:gd name="connsiteY2" fmla="*/ 96256 h 96255"/>
                <a:gd name="connsiteX3" fmla="*/ 152504 w 247184"/>
                <a:gd name="connsiteY3" fmla="*/ 96256 h 96255"/>
                <a:gd name="connsiteX4" fmla="*/ 55809 w 247184"/>
                <a:gd name="connsiteY4" fmla="*/ 79743 h 96255"/>
                <a:gd name="connsiteX5" fmla="*/ 55809 w 247184"/>
                <a:gd name="connsiteY5" fmla="*/ 96256 h 96255"/>
                <a:gd name="connsiteX6" fmla="*/ 3433 w 247184"/>
                <a:gd name="connsiteY6" fmla="*/ 96256 h 96255"/>
                <a:gd name="connsiteX7" fmla="*/ 19549 w 247184"/>
                <a:gd name="connsiteY7" fmla="*/ 0 h 96255"/>
                <a:gd name="connsiteX8" fmla="*/ 87235 w 247184"/>
                <a:gd name="connsiteY8" fmla="*/ 0 h 96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184" h="96255">
                  <a:moveTo>
                    <a:pt x="87235" y="0"/>
                  </a:moveTo>
                  <a:cubicBezTo>
                    <a:pt x="87235" y="0"/>
                    <a:pt x="107380" y="28192"/>
                    <a:pt x="203269" y="52357"/>
                  </a:cubicBezTo>
                  <a:cubicBezTo>
                    <a:pt x="224219" y="57592"/>
                    <a:pt x="247185" y="61217"/>
                    <a:pt x="247185" y="96256"/>
                  </a:cubicBezTo>
                  <a:lnTo>
                    <a:pt x="152504" y="96256"/>
                  </a:lnTo>
                  <a:lnTo>
                    <a:pt x="55809" y="79743"/>
                  </a:lnTo>
                  <a:lnTo>
                    <a:pt x="55809" y="96256"/>
                  </a:lnTo>
                  <a:lnTo>
                    <a:pt x="3433" y="96256"/>
                  </a:lnTo>
                  <a:cubicBezTo>
                    <a:pt x="3433" y="96256"/>
                    <a:pt x="-11072" y="10874"/>
                    <a:pt x="19549" y="0"/>
                  </a:cubicBezTo>
                  <a:lnTo>
                    <a:pt x="87235" y="0"/>
                  </a:lnTo>
                  <a:close/>
                </a:path>
              </a:pathLst>
            </a:custGeom>
            <a:solidFill>
              <a:srgbClr val="212B53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41" name="Forme libre 440">
            <a:extLst>
              <a:ext uri="{FF2B5EF4-FFF2-40B4-BE49-F238E27FC236}">
                <a16:creationId xmlns:a16="http://schemas.microsoft.com/office/drawing/2014/main" id="{C1EF8DAD-2E37-C94E-8A18-BDC384232B0E}"/>
              </a:ext>
            </a:extLst>
          </p:cNvPr>
          <p:cNvSpPr/>
          <p:nvPr/>
        </p:nvSpPr>
        <p:spPr>
          <a:xfrm>
            <a:off x="3325162" y="2609348"/>
            <a:ext cx="829426" cy="734291"/>
          </a:xfrm>
          <a:custGeom>
            <a:avLst/>
            <a:gdLst>
              <a:gd name="connsiteX0" fmla="*/ 829426 w 829426"/>
              <a:gd name="connsiteY0" fmla="*/ 668664 h 734291"/>
              <a:gd name="connsiteX1" fmla="*/ 821368 w 829426"/>
              <a:gd name="connsiteY1" fmla="*/ 665442 h 734291"/>
              <a:gd name="connsiteX2" fmla="*/ 481727 w 829426"/>
              <a:gd name="connsiteY2" fmla="*/ 715382 h 734291"/>
              <a:gd name="connsiteX3" fmla="*/ 78429 w 829426"/>
              <a:gd name="connsiteY3" fmla="*/ 682357 h 734291"/>
              <a:gd name="connsiteX4" fmla="*/ 2282 w 829426"/>
              <a:gd name="connsiteY4" fmla="*/ 315055 h 734291"/>
              <a:gd name="connsiteX5" fmla="*/ 105826 w 829426"/>
              <a:gd name="connsiteY5" fmla="*/ 29510 h 734291"/>
              <a:gd name="connsiteX6" fmla="*/ 595747 w 829426"/>
              <a:gd name="connsiteY6" fmla="*/ 29913 h 734291"/>
              <a:gd name="connsiteX7" fmla="*/ 743207 w 829426"/>
              <a:gd name="connsiteY7" fmla="*/ 176512 h 734291"/>
              <a:gd name="connsiteX8" fmla="*/ 748041 w 829426"/>
              <a:gd name="connsiteY8" fmla="*/ 531329 h 734291"/>
              <a:gd name="connsiteX9" fmla="*/ 829426 w 829426"/>
              <a:gd name="connsiteY9" fmla="*/ 668664 h 734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9426" h="734291">
                <a:moveTo>
                  <a:pt x="829426" y="668664"/>
                </a:moveTo>
                <a:lnTo>
                  <a:pt x="821368" y="665442"/>
                </a:lnTo>
                <a:cubicBezTo>
                  <a:pt x="712184" y="620335"/>
                  <a:pt x="594941" y="687190"/>
                  <a:pt x="481727" y="715382"/>
                </a:cubicBezTo>
                <a:cubicBezTo>
                  <a:pt x="351995" y="747602"/>
                  <a:pt x="175930" y="739950"/>
                  <a:pt x="78429" y="682357"/>
                </a:cubicBezTo>
                <a:cubicBezTo>
                  <a:pt x="11951" y="643291"/>
                  <a:pt x="1476" y="534148"/>
                  <a:pt x="2282" y="315055"/>
                </a:cubicBezTo>
                <a:cubicBezTo>
                  <a:pt x="2685" y="167651"/>
                  <a:pt x="-25518" y="73409"/>
                  <a:pt x="105826" y="29510"/>
                </a:cubicBezTo>
                <a:cubicBezTo>
                  <a:pt x="208564" y="-4723"/>
                  <a:pt x="404774" y="-14791"/>
                  <a:pt x="595747" y="29913"/>
                </a:cubicBezTo>
                <a:cubicBezTo>
                  <a:pt x="669074" y="47231"/>
                  <a:pt x="730717" y="88714"/>
                  <a:pt x="743207" y="176512"/>
                </a:cubicBezTo>
                <a:cubicBezTo>
                  <a:pt x="768992" y="359760"/>
                  <a:pt x="748041" y="531329"/>
                  <a:pt x="748041" y="531329"/>
                </a:cubicBezTo>
                <a:lnTo>
                  <a:pt x="829426" y="668664"/>
                </a:lnTo>
                <a:close/>
              </a:path>
            </a:pathLst>
          </a:custGeom>
          <a:solidFill>
            <a:srgbClr val="043C5E"/>
          </a:solidFill>
          <a:ln w="40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442" name="Forme libre 441">
            <a:extLst>
              <a:ext uri="{FF2B5EF4-FFF2-40B4-BE49-F238E27FC236}">
                <a16:creationId xmlns:a16="http://schemas.microsoft.com/office/drawing/2014/main" id="{1824EDF4-E80A-A345-8D42-809C98948D17}"/>
              </a:ext>
            </a:extLst>
          </p:cNvPr>
          <p:cNvSpPr/>
          <p:nvPr/>
        </p:nvSpPr>
        <p:spPr>
          <a:xfrm>
            <a:off x="3967645" y="2407281"/>
            <a:ext cx="647856" cy="661707"/>
          </a:xfrm>
          <a:custGeom>
            <a:avLst/>
            <a:gdLst>
              <a:gd name="connsiteX0" fmla="*/ 323928 w 647856"/>
              <a:gd name="connsiteY0" fmla="*/ 0 h 661707"/>
              <a:gd name="connsiteX1" fmla="*/ 0 w 647856"/>
              <a:gd name="connsiteY1" fmla="*/ 323806 h 661707"/>
              <a:gd name="connsiteX2" fmla="*/ 58017 w 647856"/>
              <a:gd name="connsiteY2" fmla="*/ 503832 h 661707"/>
              <a:gd name="connsiteX3" fmla="*/ 22159 w 647856"/>
              <a:gd name="connsiteY3" fmla="*/ 660096 h 661707"/>
              <a:gd name="connsiteX4" fmla="*/ 323928 w 647856"/>
              <a:gd name="connsiteY4" fmla="*/ 661707 h 661707"/>
              <a:gd name="connsiteX5" fmla="*/ 647856 w 647856"/>
              <a:gd name="connsiteY5" fmla="*/ 324208 h 661707"/>
              <a:gd name="connsiteX6" fmla="*/ 323928 w 647856"/>
              <a:gd name="connsiteY6" fmla="*/ 0 h 661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7856" h="661707">
                <a:moveTo>
                  <a:pt x="323928" y="0"/>
                </a:moveTo>
                <a:cubicBezTo>
                  <a:pt x="145042" y="0"/>
                  <a:pt x="0" y="144988"/>
                  <a:pt x="0" y="323806"/>
                </a:cubicBezTo>
                <a:cubicBezTo>
                  <a:pt x="0" y="390258"/>
                  <a:pt x="20145" y="428116"/>
                  <a:pt x="58017" y="503832"/>
                </a:cubicBezTo>
                <a:cubicBezTo>
                  <a:pt x="113214" y="613378"/>
                  <a:pt x="22159" y="660096"/>
                  <a:pt x="22159" y="660096"/>
                </a:cubicBezTo>
                <a:cubicBezTo>
                  <a:pt x="22159" y="660096"/>
                  <a:pt x="261479" y="661707"/>
                  <a:pt x="323928" y="661707"/>
                </a:cubicBezTo>
                <a:cubicBezTo>
                  <a:pt x="502814" y="661707"/>
                  <a:pt x="647856" y="503026"/>
                  <a:pt x="647856" y="324208"/>
                </a:cubicBezTo>
                <a:cubicBezTo>
                  <a:pt x="647856" y="144585"/>
                  <a:pt x="502814" y="0"/>
                  <a:pt x="323928" y="0"/>
                </a:cubicBezTo>
              </a:path>
            </a:pathLst>
          </a:custGeom>
          <a:solidFill>
            <a:srgbClr val="FFD248"/>
          </a:solidFill>
          <a:ln w="4026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grpSp>
        <p:nvGrpSpPr>
          <p:cNvPr id="443" name="Illustration">
            <a:extLst>
              <a:ext uri="{FF2B5EF4-FFF2-40B4-BE49-F238E27FC236}">
                <a16:creationId xmlns:a16="http://schemas.microsoft.com/office/drawing/2014/main" id="{D60B3858-87AA-0343-969F-10F314B7C844}"/>
              </a:ext>
            </a:extLst>
          </p:cNvPr>
          <p:cNvGrpSpPr/>
          <p:nvPr/>
        </p:nvGrpSpPr>
        <p:grpSpPr>
          <a:xfrm>
            <a:off x="660275" y="2114889"/>
            <a:ext cx="1907261" cy="1318947"/>
            <a:chOff x="660275" y="2114889"/>
            <a:chExt cx="1907261" cy="1318947"/>
          </a:xfrm>
        </p:grpSpPr>
        <p:sp>
          <p:nvSpPr>
            <p:cNvPr id="444" name="Forme libre 443">
              <a:extLst>
                <a:ext uri="{FF2B5EF4-FFF2-40B4-BE49-F238E27FC236}">
                  <a16:creationId xmlns:a16="http://schemas.microsoft.com/office/drawing/2014/main" id="{08950D5A-038B-D641-83DA-7CFF536C08C2}"/>
                </a:ext>
              </a:extLst>
            </p:cNvPr>
            <p:cNvSpPr/>
            <p:nvPr/>
          </p:nvSpPr>
          <p:spPr>
            <a:xfrm>
              <a:off x="921408" y="2702548"/>
              <a:ext cx="685495" cy="685757"/>
            </a:xfrm>
            <a:custGeom>
              <a:avLst/>
              <a:gdLst>
                <a:gd name="connsiteX0" fmla="*/ 684866 w 685495"/>
                <a:gd name="connsiteY0" fmla="*/ 396242 h 685757"/>
                <a:gd name="connsiteX1" fmla="*/ 625640 w 685495"/>
                <a:gd name="connsiteY1" fmla="*/ 363217 h 685757"/>
                <a:gd name="connsiteX2" fmla="*/ 618388 w 685495"/>
                <a:gd name="connsiteY2" fmla="*/ 279850 h 685757"/>
                <a:gd name="connsiteX3" fmla="*/ 673182 w 685495"/>
                <a:gd name="connsiteY3" fmla="*/ 238367 h 685757"/>
                <a:gd name="connsiteX4" fmla="*/ 622820 w 685495"/>
                <a:gd name="connsiteY4" fmla="*/ 138889 h 685757"/>
                <a:gd name="connsiteX5" fmla="*/ 555939 w 685495"/>
                <a:gd name="connsiteY5" fmla="*/ 158221 h 685757"/>
                <a:gd name="connsiteX6" fmla="*/ 493087 w 685495"/>
                <a:gd name="connsiteY6" fmla="*/ 103851 h 685757"/>
                <a:gd name="connsiteX7" fmla="*/ 502757 w 685495"/>
                <a:gd name="connsiteY7" fmla="*/ 35384 h 685757"/>
                <a:gd name="connsiteX8" fmla="*/ 396795 w 685495"/>
                <a:gd name="connsiteY8" fmla="*/ 749 h 685757"/>
                <a:gd name="connsiteX9" fmla="*/ 363758 w 685495"/>
                <a:gd name="connsiteY9" fmla="*/ 59549 h 685757"/>
                <a:gd name="connsiteX10" fmla="*/ 278747 w 685495"/>
                <a:gd name="connsiteY10" fmla="*/ 64382 h 685757"/>
                <a:gd name="connsiteX11" fmla="*/ 238457 w 685495"/>
                <a:gd name="connsiteY11" fmla="*/ 12428 h 685757"/>
                <a:gd name="connsiteX12" fmla="*/ 138942 w 685495"/>
                <a:gd name="connsiteY12" fmla="*/ 62771 h 685757"/>
                <a:gd name="connsiteX13" fmla="*/ 155058 w 685495"/>
                <a:gd name="connsiteY13" fmla="*/ 123182 h 685757"/>
                <a:gd name="connsiteX14" fmla="*/ 95429 w 685495"/>
                <a:gd name="connsiteY14" fmla="*/ 189232 h 685757"/>
                <a:gd name="connsiteX15" fmla="*/ 35398 w 685495"/>
                <a:gd name="connsiteY15" fmla="*/ 182788 h 685757"/>
                <a:gd name="connsiteX16" fmla="*/ 749 w 685495"/>
                <a:gd name="connsiteY16" fmla="*/ 288710 h 685757"/>
                <a:gd name="connsiteX17" fmla="*/ 50305 w 685495"/>
                <a:gd name="connsiteY17" fmla="*/ 318513 h 685757"/>
                <a:gd name="connsiteX18" fmla="*/ 55945 w 685495"/>
                <a:gd name="connsiteY18" fmla="*/ 410741 h 685757"/>
                <a:gd name="connsiteX19" fmla="*/ 12433 w 685495"/>
                <a:gd name="connsiteY19" fmla="*/ 446988 h 685757"/>
                <a:gd name="connsiteX20" fmla="*/ 62795 w 685495"/>
                <a:gd name="connsiteY20" fmla="*/ 546466 h 685757"/>
                <a:gd name="connsiteX21" fmla="*/ 117186 w 685495"/>
                <a:gd name="connsiteY21" fmla="*/ 533175 h 685757"/>
                <a:gd name="connsiteX22" fmla="*/ 188095 w 685495"/>
                <a:gd name="connsiteY22" fmla="*/ 593989 h 685757"/>
                <a:gd name="connsiteX23" fmla="*/ 182858 w 685495"/>
                <a:gd name="connsiteY23" fmla="*/ 650373 h 685757"/>
                <a:gd name="connsiteX24" fmla="*/ 288819 w 685495"/>
                <a:gd name="connsiteY24" fmla="*/ 685009 h 685757"/>
                <a:gd name="connsiteX25" fmla="*/ 318633 w 685495"/>
                <a:gd name="connsiteY25" fmla="*/ 635069 h 685757"/>
                <a:gd name="connsiteX26" fmla="*/ 409285 w 685495"/>
                <a:gd name="connsiteY26" fmla="*/ 626612 h 685757"/>
                <a:gd name="connsiteX27" fmla="*/ 447157 w 685495"/>
                <a:gd name="connsiteY27" fmla="*/ 673330 h 685757"/>
                <a:gd name="connsiteX28" fmla="*/ 546672 w 685495"/>
                <a:gd name="connsiteY28" fmla="*/ 622987 h 685757"/>
                <a:gd name="connsiteX29" fmla="*/ 530154 w 685495"/>
                <a:gd name="connsiteY29" fmla="*/ 562173 h 685757"/>
                <a:gd name="connsiteX30" fmla="*/ 585350 w 685495"/>
                <a:gd name="connsiteY30" fmla="*/ 494915 h 685757"/>
                <a:gd name="connsiteX31" fmla="*/ 649814 w 685495"/>
                <a:gd name="connsiteY31" fmla="*/ 502969 h 685757"/>
                <a:gd name="connsiteX32" fmla="*/ 684866 w 685495"/>
                <a:gd name="connsiteY32" fmla="*/ 396242 h 685757"/>
                <a:gd name="connsiteX33" fmla="*/ 296877 w 685495"/>
                <a:gd name="connsiteY33" fmla="*/ 469139 h 685757"/>
                <a:gd name="connsiteX34" fmla="*/ 214686 w 685495"/>
                <a:gd name="connsiteY34" fmla="*/ 306431 h 685757"/>
                <a:gd name="connsiteX35" fmla="*/ 377456 w 685495"/>
                <a:gd name="connsiteY35" fmla="*/ 224271 h 685757"/>
                <a:gd name="connsiteX36" fmla="*/ 459647 w 685495"/>
                <a:gd name="connsiteY36" fmla="*/ 386979 h 685757"/>
                <a:gd name="connsiteX37" fmla="*/ 296877 w 685495"/>
                <a:gd name="connsiteY37" fmla="*/ 469139 h 685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5495" h="685757">
                  <a:moveTo>
                    <a:pt x="684866" y="396242"/>
                  </a:moveTo>
                  <a:cubicBezTo>
                    <a:pt x="682448" y="388993"/>
                    <a:pt x="656663" y="374092"/>
                    <a:pt x="625640" y="363217"/>
                  </a:cubicBezTo>
                  <a:cubicBezTo>
                    <a:pt x="627251" y="334623"/>
                    <a:pt x="624834" y="306833"/>
                    <a:pt x="618388" y="279850"/>
                  </a:cubicBezTo>
                  <a:cubicBezTo>
                    <a:pt x="644576" y="267767"/>
                    <a:pt x="671167" y="252463"/>
                    <a:pt x="673182" y="238367"/>
                  </a:cubicBezTo>
                  <a:cubicBezTo>
                    <a:pt x="677613" y="209772"/>
                    <a:pt x="634101" y="144125"/>
                    <a:pt x="622820" y="138889"/>
                  </a:cubicBezTo>
                  <a:cubicBezTo>
                    <a:pt x="615568" y="135668"/>
                    <a:pt x="586156" y="143320"/>
                    <a:pt x="555939" y="158221"/>
                  </a:cubicBezTo>
                  <a:cubicBezTo>
                    <a:pt x="537809" y="137278"/>
                    <a:pt x="516858" y="119155"/>
                    <a:pt x="493087" y="103851"/>
                  </a:cubicBezTo>
                  <a:cubicBezTo>
                    <a:pt x="503160" y="76867"/>
                    <a:pt x="511218" y="47064"/>
                    <a:pt x="502757" y="35384"/>
                  </a:cubicBezTo>
                  <a:cubicBezTo>
                    <a:pt x="485432" y="12025"/>
                    <a:pt x="408479" y="-3682"/>
                    <a:pt x="396795" y="749"/>
                  </a:cubicBezTo>
                  <a:cubicBezTo>
                    <a:pt x="389543" y="3165"/>
                    <a:pt x="374636" y="28538"/>
                    <a:pt x="363758" y="59549"/>
                  </a:cubicBezTo>
                  <a:cubicBezTo>
                    <a:pt x="335152" y="56730"/>
                    <a:pt x="306547" y="58744"/>
                    <a:pt x="278747" y="64382"/>
                  </a:cubicBezTo>
                  <a:cubicBezTo>
                    <a:pt x="267063" y="39009"/>
                    <a:pt x="252156" y="14442"/>
                    <a:pt x="238457" y="12428"/>
                  </a:cubicBezTo>
                  <a:cubicBezTo>
                    <a:pt x="209852" y="7998"/>
                    <a:pt x="144180" y="51494"/>
                    <a:pt x="138942" y="62771"/>
                  </a:cubicBezTo>
                  <a:cubicBezTo>
                    <a:pt x="135719" y="69215"/>
                    <a:pt x="142165" y="95393"/>
                    <a:pt x="155058" y="123182"/>
                  </a:cubicBezTo>
                  <a:cubicBezTo>
                    <a:pt x="132093" y="141709"/>
                    <a:pt x="111948" y="163860"/>
                    <a:pt x="95429" y="189232"/>
                  </a:cubicBezTo>
                  <a:cubicBezTo>
                    <a:pt x="70853" y="180775"/>
                    <a:pt x="45470" y="175136"/>
                    <a:pt x="35398" y="182788"/>
                  </a:cubicBezTo>
                  <a:cubicBezTo>
                    <a:pt x="12030" y="199704"/>
                    <a:pt x="-3683" y="277030"/>
                    <a:pt x="749" y="288710"/>
                  </a:cubicBezTo>
                  <a:cubicBezTo>
                    <a:pt x="3166" y="295154"/>
                    <a:pt x="23714" y="308042"/>
                    <a:pt x="50305" y="318513"/>
                  </a:cubicBezTo>
                  <a:cubicBezTo>
                    <a:pt x="47082" y="349927"/>
                    <a:pt x="49096" y="380938"/>
                    <a:pt x="55945" y="410741"/>
                  </a:cubicBezTo>
                  <a:cubicBezTo>
                    <a:pt x="33786" y="421615"/>
                    <a:pt x="14044" y="434906"/>
                    <a:pt x="12433" y="446988"/>
                  </a:cubicBezTo>
                  <a:cubicBezTo>
                    <a:pt x="8001" y="475583"/>
                    <a:pt x="51514" y="541230"/>
                    <a:pt x="62795" y="546466"/>
                  </a:cubicBezTo>
                  <a:cubicBezTo>
                    <a:pt x="68838" y="549285"/>
                    <a:pt x="91803" y="544049"/>
                    <a:pt x="117186" y="533175"/>
                  </a:cubicBezTo>
                  <a:cubicBezTo>
                    <a:pt x="136928" y="556937"/>
                    <a:pt x="161101" y="577477"/>
                    <a:pt x="188095" y="593989"/>
                  </a:cubicBezTo>
                  <a:cubicBezTo>
                    <a:pt x="180440" y="617349"/>
                    <a:pt x="175605" y="640305"/>
                    <a:pt x="182858" y="650373"/>
                  </a:cubicBezTo>
                  <a:cubicBezTo>
                    <a:pt x="199779" y="673733"/>
                    <a:pt x="277135" y="689440"/>
                    <a:pt x="288819" y="685009"/>
                  </a:cubicBezTo>
                  <a:cubicBezTo>
                    <a:pt x="295265" y="682593"/>
                    <a:pt x="308158" y="662053"/>
                    <a:pt x="318633" y="635069"/>
                  </a:cubicBezTo>
                  <a:cubicBezTo>
                    <a:pt x="349656" y="637083"/>
                    <a:pt x="380276" y="633861"/>
                    <a:pt x="409285" y="626612"/>
                  </a:cubicBezTo>
                  <a:cubicBezTo>
                    <a:pt x="420566" y="649971"/>
                    <a:pt x="434264" y="671316"/>
                    <a:pt x="447157" y="673330"/>
                  </a:cubicBezTo>
                  <a:cubicBezTo>
                    <a:pt x="475763" y="677760"/>
                    <a:pt x="541435" y="634264"/>
                    <a:pt x="546672" y="622987"/>
                  </a:cubicBezTo>
                  <a:cubicBezTo>
                    <a:pt x="549896" y="616543"/>
                    <a:pt x="543449" y="589962"/>
                    <a:pt x="530154" y="562173"/>
                  </a:cubicBezTo>
                  <a:cubicBezTo>
                    <a:pt x="551507" y="542841"/>
                    <a:pt x="570443" y="520287"/>
                    <a:pt x="585350" y="494915"/>
                  </a:cubicBezTo>
                  <a:cubicBezTo>
                    <a:pt x="611539" y="504178"/>
                    <a:pt x="638936" y="511024"/>
                    <a:pt x="649814" y="502969"/>
                  </a:cubicBezTo>
                  <a:cubicBezTo>
                    <a:pt x="673182" y="485249"/>
                    <a:pt x="688895" y="407922"/>
                    <a:pt x="684866" y="396242"/>
                  </a:cubicBezTo>
                  <a:moveTo>
                    <a:pt x="296877" y="469139"/>
                  </a:moveTo>
                  <a:cubicBezTo>
                    <a:pt x="229191" y="446988"/>
                    <a:pt x="192124" y="374092"/>
                    <a:pt x="214686" y="306431"/>
                  </a:cubicBezTo>
                  <a:cubicBezTo>
                    <a:pt x="236846" y="238770"/>
                    <a:pt x="309770" y="201717"/>
                    <a:pt x="377456" y="224271"/>
                  </a:cubicBezTo>
                  <a:cubicBezTo>
                    <a:pt x="445143" y="246422"/>
                    <a:pt x="482209" y="319318"/>
                    <a:pt x="459647" y="386979"/>
                  </a:cubicBezTo>
                  <a:cubicBezTo>
                    <a:pt x="437488" y="454640"/>
                    <a:pt x="364564" y="491693"/>
                    <a:pt x="296877" y="469139"/>
                  </a:cubicBezTo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5" name="Forme libre 444">
              <a:extLst>
                <a:ext uri="{FF2B5EF4-FFF2-40B4-BE49-F238E27FC236}">
                  <a16:creationId xmlns:a16="http://schemas.microsoft.com/office/drawing/2014/main" id="{EB7CFFBE-94CF-A547-822D-33C6701095F0}"/>
                </a:ext>
              </a:extLst>
            </p:cNvPr>
            <p:cNvSpPr/>
            <p:nvPr/>
          </p:nvSpPr>
          <p:spPr>
            <a:xfrm>
              <a:off x="1076611" y="2862929"/>
              <a:ext cx="367552" cy="367566"/>
            </a:xfrm>
            <a:custGeom>
              <a:avLst/>
              <a:gdLst>
                <a:gd name="connsiteX0" fmla="*/ 126363 w 367552"/>
                <a:gd name="connsiteY0" fmla="*/ 358296 h 367566"/>
                <a:gd name="connsiteX1" fmla="*/ 9121 w 367552"/>
                <a:gd name="connsiteY1" fmla="*/ 126316 h 367566"/>
                <a:gd name="connsiteX2" fmla="*/ 241189 w 367552"/>
                <a:gd name="connsiteY2" fmla="*/ 9117 h 367566"/>
                <a:gd name="connsiteX3" fmla="*/ 358431 w 367552"/>
                <a:gd name="connsiteY3" fmla="*/ 241097 h 367566"/>
                <a:gd name="connsiteX4" fmla="*/ 126363 w 367552"/>
                <a:gd name="connsiteY4" fmla="*/ 358296 h 367566"/>
                <a:gd name="connsiteX5" fmla="*/ 240383 w 367552"/>
                <a:gd name="connsiteY5" fmla="*/ 11937 h 367566"/>
                <a:gd name="connsiteX6" fmla="*/ 11941 w 367552"/>
                <a:gd name="connsiteY6" fmla="*/ 127524 h 367566"/>
                <a:gd name="connsiteX7" fmla="*/ 127572 w 367552"/>
                <a:gd name="connsiteY7" fmla="*/ 355879 h 367566"/>
                <a:gd name="connsiteX8" fmla="*/ 356014 w 367552"/>
                <a:gd name="connsiteY8" fmla="*/ 240292 h 367566"/>
                <a:gd name="connsiteX9" fmla="*/ 240383 w 367552"/>
                <a:gd name="connsiteY9" fmla="*/ 11937 h 3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7552" h="367566">
                  <a:moveTo>
                    <a:pt x="126363" y="358296"/>
                  </a:moveTo>
                  <a:cubicBezTo>
                    <a:pt x="30071" y="326882"/>
                    <a:pt x="-22305" y="222571"/>
                    <a:pt x="9121" y="126316"/>
                  </a:cubicBezTo>
                  <a:cubicBezTo>
                    <a:pt x="40950" y="30060"/>
                    <a:pt x="144897" y="-22297"/>
                    <a:pt x="241189" y="9117"/>
                  </a:cubicBezTo>
                  <a:cubicBezTo>
                    <a:pt x="337481" y="40531"/>
                    <a:pt x="389857" y="144842"/>
                    <a:pt x="358431" y="241097"/>
                  </a:cubicBezTo>
                  <a:cubicBezTo>
                    <a:pt x="326603" y="337353"/>
                    <a:pt x="222655" y="390113"/>
                    <a:pt x="126363" y="358296"/>
                  </a:cubicBezTo>
                  <a:moveTo>
                    <a:pt x="240383" y="11937"/>
                  </a:moveTo>
                  <a:cubicBezTo>
                    <a:pt x="145702" y="-19075"/>
                    <a:pt x="42964" y="32476"/>
                    <a:pt x="11941" y="127524"/>
                  </a:cubicBezTo>
                  <a:cubicBezTo>
                    <a:pt x="-19082" y="222169"/>
                    <a:pt x="32489" y="324868"/>
                    <a:pt x="127572" y="355879"/>
                  </a:cubicBezTo>
                  <a:cubicBezTo>
                    <a:pt x="222253" y="386891"/>
                    <a:pt x="324991" y="335339"/>
                    <a:pt x="356014" y="240292"/>
                  </a:cubicBezTo>
                  <a:cubicBezTo>
                    <a:pt x="387037" y="145647"/>
                    <a:pt x="335466" y="42948"/>
                    <a:pt x="240383" y="11937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6" name="Forme libre 445">
              <a:extLst>
                <a:ext uri="{FF2B5EF4-FFF2-40B4-BE49-F238E27FC236}">
                  <a16:creationId xmlns:a16="http://schemas.microsoft.com/office/drawing/2014/main" id="{8EFA8168-CF21-4D42-A937-7524D8B175BB}"/>
                </a:ext>
              </a:extLst>
            </p:cNvPr>
            <p:cNvSpPr/>
            <p:nvPr/>
          </p:nvSpPr>
          <p:spPr>
            <a:xfrm>
              <a:off x="999916" y="3076237"/>
              <a:ext cx="524972" cy="240923"/>
            </a:xfrm>
            <a:custGeom>
              <a:avLst/>
              <a:gdLst>
                <a:gd name="connsiteX0" fmla="*/ 524973 w 524972"/>
                <a:gd name="connsiteY0" fmla="*/ 1611 h 240923"/>
                <a:gd name="connsiteX1" fmla="*/ 521750 w 524972"/>
                <a:gd name="connsiteY1" fmla="*/ 0 h 240923"/>
                <a:gd name="connsiteX2" fmla="*/ 510066 w 524972"/>
                <a:gd name="connsiteY2" fmla="*/ 55981 h 240923"/>
                <a:gd name="connsiteX3" fmla="*/ 177677 w 524972"/>
                <a:gd name="connsiteY3" fmla="*/ 223925 h 240923"/>
                <a:gd name="connsiteX4" fmla="*/ 3626 w 524972"/>
                <a:gd name="connsiteY4" fmla="*/ 33830 h 240923"/>
                <a:gd name="connsiteX5" fmla="*/ 3626 w 524972"/>
                <a:gd name="connsiteY5" fmla="*/ 33830 h 240923"/>
                <a:gd name="connsiteX6" fmla="*/ 0 w 524972"/>
                <a:gd name="connsiteY6" fmla="*/ 33428 h 240923"/>
                <a:gd name="connsiteX7" fmla="*/ 176871 w 524972"/>
                <a:gd name="connsiteY7" fmla="*/ 227550 h 240923"/>
                <a:gd name="connsiteX8" fmla="*/ 513692 w 524972"/>
                <a:gd name="connsiteY8" fmla="*/ 57592 h 240923"/>
                <a:gd name="connsiteX9" fmla="*/ 524973 w 524972"/>
                <a:gd name="connsiteY9" fmla="*/ 1611 h 24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4972" h="240923">
                  <a:moveTo>
                    <a:pt x="524973" y="1611"/>
                  </a:moveTo>
                  <a:cubicBezTo>
                    <a:pt x="523764" y="1208"/>
                    <a:pt x="522958" y="403"/>
                    <a:pt x="521750" y="0"/>
                  </a:cubicBezTo>
                  <a:cubicBezTo>
                    <a:pt x="519735" y="18929"/>
                    <a:pt x="516109" y="37455"/>
                    <a:pt x="510066" y="55981"/>
                  </a:cubicBezTo>
                  <a:cubicBezTo>
                    <a:pt x="464539" y="194122"/>
                    <a:pt x="315467" y="269435"/>
                    <a:pt x="177677" y="223925"/>
                  </a:cubicBezTo>
                  <a:cubicBezTo>
                    <a:pt x="87428" y="194122"/>
                    <a:pt x="23771" y="120017"/>
                    <a:pt x="3626" y="33830"/>
                  </a:cubicBezTo>
                  <a:cubicBezTo>
                    <a:pt x="3626" y="33830"/>
                    <a:pt x="3626" y="33830"/>
                    <a:pt x="3626" y="33830"/>
                  </a:cubicBezTo>
                  <a:cubicBezTo>
                    <a:pt x="2417" y="33830"/>
                    <a:pt x="1209" y="33428"/>
                    <a:pt x="0" y="33428"/>
                  </a:cubicBezTo>
                  <a:cubicBezTo>
                    <a:pt x="20145" y="121628"/>
                    <a:pt x="84608" y="197344"/>
                    <a:pt x="176871" y="227550"/>
                  </a:cubicBezTo>
                  <a:cubicBezTo>
                    <a:pt x="316676" y="273463"/>
                    <a:pt x="467762" y="197344"/>
                    <a:pt x="513692" y="57592"/>
                  </a:cubicBezTo>
                  <a:cubicBezTo>
                    <a:pt x="518930" y="38663"/>
                    <a:pt x="522958" y="20137"/>
                    <a:pt x="524973" y="1611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7" name="Forme libre 446">
              <a:extLst>
                <a:ext uri="{FF2B5EF4-FFF2-40B4-BE49-F238E27FC236}">
                  <a16:creationId xmlns:a16="http://schemas.microsoft.com/office/drawing/2014/main" id="{0B11D9CC-7499-2A46-8107-B1891D1DA72E}"/>
                </a:ext>
              </a:extLst>
            </p:cNvPr>
            <p:cNvSpPr/>
            <p:nvPr/>
          </p:nvSpPr>
          <p:spPr>
            <a:xfrm>
              <a:off x="1171146" y="2783503"/>
              <a:ext cx="174050" cy="18465"/>
            </a:xfrm>
            <a:custGeom>
              <a:avLst/>
              <a:gdLst>
                <a:gd name="connsiteX0" fmla="*/ 403 w 174050"/>
                <a:gd name="connsiteY0" fmla="*/ 18466 h 18465"/>
                <a:gd name="connsiteX1" fmla="*/ 170828 w 174050"/>
                <a:gd name="connsiteY1" fmla="*/ 16452 h 18465"/>
                <a:gd name="connsiteX2" fmla="*/ 174051 w 174050"/>
                <a:gd name="connsiteY2" fmla="*/ 17660 h 18465"/>
                <a:gd name="connsiteX3" fmla="*/ 174051 w 174050"/>
                <a:gd name="connsiteY3" fmla="*/ 14035 h 18465"/>
                <a:gd name="connsiteX4" fmla="*/ 171634 w 174050"/>
                <a:gd name="connsiteY4" fmla="*/ 13230 h 18465"/>
                <a:gd name="connsiteX5" fmla="*/ 0 w 174050"/>
                <a:gd name="connsiteY5" fmla="*/ 15244 h 18465"/>
                <a:gd name="connsiteX6" fmla="*/ 403 w 174050"/>
                <a:gd name="connsiteY6" fmla="*/ 18466 h 18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4050" h="18465">
                  <a:moveTo>
                    <a:pt x="403" y="18466"/>
                  </a:moveTo>
                  <a:cubicBezTo>
                    <a:pt x="53585" y="-463"/>
                    <a:pt x="113214" y="-2477"/>
                    <a:pt x="170828" y="16452"/>
                  </a:cubicBezTo>
                  <a:cubicBezTo>
                    <a:pt x="172036" y="16855"/>
                    <a:pt x="173245" y="17257"/>
                    <a:pt x="174051" y="17660"/>
                  </a:cubicBezTo>
                  <a:cubicBezTo>
                    <a:pt x="174051" y="16452"/>
                    <a:pt x="174051" y="15244"/>
                    <a:pt x="174051" y="14035"/>
                  </a:cubicBezTo>
                  <a:cubicBezTo>
                    <a:pt x="173245" y="13633"/>
                    <a:pt x="172439" y="13633"/>
                    <a:pt x="171634" y="13230"/>
                  </a:cubicBezTo>
                  <a:cubicBezTo>
                    <a:pt x="113617" y="-5699"/>
                    <a:pt x="53585" y="-3685"/>
                    <a:pt x="0" y="15244"/>
                  </a:cubicBezTo>
                  <a:cubicBezTo>
                    <a:pt x="0" y="16049"/>
                    <a:pt x="0" y="17257"/>
                    <a:pt x="403" y="18466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8" name="Forme libre 447">
              <a:extLst>
                <a:ext uri="{FF2B5EF4-FFF2-40B4-BE49-F238E27FC236}">
                  <a16:creationId xmlns:a16="http://schemas.microsoft.com/office/drawing/2014/main" id="{B2DA5D15-D8D0-3946-929E-CD3BB011529D}"/>
                </a:ext>
              </a:extLst>
            </p:cNvPr>
            <p:cNvSpPr/>
            <p:nvPr/>
          </p:nvSpPr>
          <p:spPr>
            <a:xfrm>
              <a:off x="1881951" y="2784748"/>
              <a:ext cx="411703" cy="411812"/>
            </a:xfrm>
            <a:custGeom>
              <a:avLst/>
              <a:gdLst>
                <a:gd name="connsiteX0" fmla="*/ 410857 w 411703"/>
                <a:gd name="connsiteY0" fmla="*/ 223023 h 411812"/>
                <a:gd name="connsiteX1" fmla="*/ 374193 w 411703"/>
                <a:gd name="connsiteY1" fmla="*/ 206108 h 411812"/>
                <a:gd name="connsiteX2" fmla="*/ 366135 w 411703"/>
                <a:gd name="connsiteY2" fmla="*/ 156973 h 411812"/>
                <a:gd name="connsiteX3" fmla="*/ 396755 w 411703"/>
                <a:gd name="connsiteY3" fmla="*/ 129989 h 411812"/>
                <a:gd name="connsiteX4" fmla="*/ 362912 w 411703"/>
                <a:gd name="connsiteY4" fmla="*/ 73202 h 411812"/>
                <a:gd name="connsiteX5" fmla="*/ 324234 w 411703"/>
                <a:gd name="connsiteY5" fmla="*/ 87298 h 411812"/>
                <a:gd name="connsiteX6" fmla="*/ 284750 w 411703"/>
                <a:gd name="connsiteY6" fmla="*/ 57898 h 411812"/>
                <a:gd name="connsiteX7" fmla="*/ 287570 w 411703"/>
                <a:gd name="connsiteY7" fmla="*/ 16818 h 411812"/>
                <a:gd name="connsiteX8" fmla="*/ 223107 w 411703"/>
                <a:gd name="connsiteY8" fmla="*/ 709 h 411812"/>
                <a:gd name="connsiteX9" fmla="*/ 206186 w 411703"/>
                <a:gd name="connsiteY9" fmla="*/ 36955 h 411812"/>
                <a:gd name="connsiteX10" fmla="*/ 156226 w 411703"/>
                <a:gd name="connsiteY10" fmla="*/ 43399 h 411812"/>
                <a:gd name="connsiteX11" fmla="*/ 130038 w 411703"/>
                <a:gd name="connsiteY11" fmla="*/ 14402 h 411812"/>
                <a:gd name="connsiteX12" fmla="*/ 73230 w 411703"/>
                <a:gd name="connsiteY12" fmla="*/ 48635 h 411812"/>
                <a:gd name="connsiteX13" fmla="*/ 85317 w 411703"/>
                <a:gd name="connsiteY13" fmla="*/ 83674 h 411812"/>
                <a:gd name="connsiteX14" fmla="*/ 52682 w 411703"/>
                <a:gd name="connsiteY14" fmla="*/ 125559 h 411812"/>
                <a:gd name="connsiteX15" fmla="*/ 16825 w 411703"/>
                <a:gd name="connsiteY15" fmla="*/ 124351 h 411812"/>
                <a:gd name="connsiteX16" fmla="*/ 709 w 411703"/>
                <a:gd name="connsiteY16" fmla="*/ 188790 h 411812"/>
                <a:gd name="connsiteX17" fmla="*/ 31329 w 411703"/>
                <a:gd name="connsiteY17" fmla="*/ 204094 h 411812"/>
                <a:gd name="connsiteX18" fmla="*/ 38581 w 411703"/>
                <a:gd name="connsiteY18" fmla="*/ 258464 h 411812"/>
                <a:gd name="connsiteX19" fmla="*/ 14407 w 411703"/>
                <a:gd name="connsiteY19" fmla="*/ 281823 h 411812"/>
                <a:gd name="connsiteX20" fmla="*/ 48251 w 411703"/>
                <a:gd name="connsiteY20" fmla="*/ 338610 h 411812"/>
                <a:gd name="connsiteX21" fmla="*/ 79676 w 411703"/>
                <a:gd name="connsiteY21" fmla="*/ 328542 h 411812"/>
                <a:gd name="connsiteX22" fmla="*/ 124398 w 411703"/>
                <a:gd name="connsiteY22" fmla="*/ 361567 h 411812"/>
                <a:gd name="connsiteX23" fmla="*/ 123592 w 411703"/>
                <a:gd name="connsiteY23" fmla="*/ 394994 h 411812"/>
                <a:gd name="connsiteX24" fmla="*/ 188055 w 411703"/>
                <a:gd name="connsiteY24" fmla="*/ 411104 h 411812"/>
                <a:gd name="connsiteX25" fmla="*/ 203365 w 411703"/>
                <a:gd name="connsiteY25" fmla="*/ 380093 h 411812"/>
                <a:gd name="connsiteX26" fmla="*/ 256950 w 411703"/>
                <a:gd name="connsiteY26" fmla="*/ 371232 h 411812"/>
                <a:gd name="connsiteX27" fmla="*/ 281124 w 411703"/>
                <a:gd name="connsiteY27" fmla="*/ 397411 h 411812"/>
                <a:gd name="connsiteX28" fmla="*/ 337932 w 411703"/>
                <a:gd name="connsiteY28" fmla="*/ 363580 h 411812"/>
                <a:gd name="connsiteX29" fmla="*/ 325443 w 411703"/>
                <a:gd name="connsiteY29" fmla="*/ 328139 h 411812"/>
                <a:gd name="connsiteX30" fmla="*/ 355257 w 411703"/>
                <a:gd name="connsiteY30" fmla="*/ 285851 h 411812"/>
                <a:gd name="connsiteX31" fmla="*/ 393935 w 411703"/>
                <a:gd name="connsiteY31" fmla="*/ 287865 h 411812"/>
                <a:gd name="connsiteX32" fmla="*/ 410857 w 411703"/>
                <a:gd name="connsiteY32" fmla="*/ 223023 h 411812"/>
                <a:gd name="connsiteX33" fmla="*/ 184429 w 411703"/>
                <a:gd name="connsiteY33" fmla="*/ 282629 h 411812"/>
                <a:gd name="connsiteX34" fmla="*/ 128830 w 411703"/>
                <a:gd name="connsiteY34" fmla="*/ 189595 h 411812"/>
                <a:gd name="connsiteX35" fmla="*/ 221899 w 411703"/>
                <a:gd name="connsiteY35" fmla="*/ 134017 h 411812"/>
                <a:gd name="connsiteX36" fmla="*/ 277498 w 411703"/>
                <a:gd name="connsiteY36" fmla="*/ 227050 h 411812"/>
                <a:gd name="connsiteX37" fmla="*/ 184429 w 411703"/>
                <a:gd name="connsiteY37" fmla="*/ 282629 h 41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11703" h="411812">
                  <a:moveTo>
                    <a:pt x="410857" y="223023"/>
                  </a:moveTo>
                  <a:cubicBezTo>
                    <a:pt x="408842" y="218995"/>
                    <a:pt x="393129" y="210941"/>
                    <a:pt x="374193" y="206108"/>
                  </a:cubicBezTo>
                  <a:cubicBezTo>
                    <a:pt x="373790" y="189193"/>
                    <a:pt x="371373" y="172680"/>
                    <a:pt x="366135" y="156973"/>
                  </a:cubicBezTo>
                  <a:cubicBezTo>
                    <a:pt x="381042" y="148918"/>
                    <a:pt x="396352" y="138447"/>
                    <a:pt x="396755" y="129989"/>
                  </a:cubicBezTo>
                  <a:cubicBezTo>
                    <a:pt x="398367" y="112671"/>
                    <a:pt x="369358" y="75619"/>
                    <a:pt x="362912" y="73202"/>
                  </a:cubicBezTo>
                  <a:cubicBezTo>
                    <a:pt x="358480" y="71591"/>
                    <a:pt x="341558" y="77230"/>
                    <a:pt x="324234" y="87298"/>
                  </a:cubicBezTo>
                  <a:cubicBezTo>
                    <a:pt x="312550" y="75619"/>
                    <a:pt x="299657" y="65550"/>
                    <a:pt x="284750" y="57898"/>
                  </a:cubicBezTo>
                  <a:cubicBezTo>
                    <a:pt x="289585" y="41386"/>
                    <a:pt x="292808" y="23665"/>
                    <a:pt x="287570" y="16818"/>
                  </a:cubicBezTo>
                  <a:cubicBezTo>
                    <a:pt x="276289" y="3528"/>
                    <a:pt x="229956" y="-2111"/>
                    <a:pt x="223107" y="709"/>
                  </a:cubicBezTo>
                  <a:cubicBezTo>
                    <a:pt x="219078" y="2722"/>
                    <a:pt x="211020" y="18027"/>
                    <a:pt x="206186" y="36955"/>
                  </a:cubicBezTo>
                  <a:cubicBezTo>
                    <a:pt x="188861" y="36553"/>
                    <a:pt x="172342" y="38969"/>
                    <a:pt x="156226" y="43399"/>
                  </a:cubicBezTo>
                  <a:cubicBezTo>
                    <a:pt x="148169" y="28901"/>
                    <a:pt x="138499" y="14805"/>
                    <a:pt x="130038" y="14402"/>
                  </a:cubicBezTo>
                  <a:cubicBezTo>
                    <a:pt x="112714" y="12791"/>
                    <a:pt x="75647" y="41788"/>
                    <a:pt x="73230" y="48635"/>
                  </a:cubicBezTo>
                  <a:cubicBezTo>
                    <a:pt x="71618" y="52662"/>
                    <a:pt x="76453" y="67967"/>
                    <a:pt x="85317" y="83674"/>
                  </a:cubicBezTo>
                  <a:cubicBezTo>
                    <a:pt x="72424" y="95756"/>
                    <a:pt x="61546" y="109449"/>
                    <a:pt x="52682" y="125559"/>
                  </a:cubicBezTo>
                  <a:cubicBezTo>
                    <a:pt x="37775" y="121532"/>
                    <a:pt x="22465" y="119115"/>
                    <a:pt x="16825" y="124351"/>
                  </a:cubicBezTo>
                  <a:cubicBezTo>
                    <a:pt x="3529" y="135628"/>
                    <a:pt x="-2111" y="181943"/>
                    <a:pt x="709" y="188790"/>
                  </a:cubicBezTo>
                  <a:cubicBezTo>
                    <a:pt x="2320" y="192414"/>
                    <a:pt x="15213" y="199261"/>
                    <a:pt x="31329" y="204094"/>
                  </a:cubicBezTo>
                  <a:cubicBezTo>
                    <a:pt x="30926" y="222620"/>
                    <a:pt x="33343" y="241146"/>
                    <a:pt x="38581" y="258464"/>
                  </a:cubicBezTo>
                  <a:cubicBezTo>
                    <a:pt x="26091" y="266116"/>
                    <a:pt x="14810" y="274574"/>
                    <a:pt x="14407" y="281823"/>
                  </a:cubicBezTo>
                  <a:cubicBezTo>
                    <a:pt x="12796" y="299141"/>
                    <a:pt x="41804" y="336194"/>
                    <a:pt x="48251" y="338610"/>
                  </a:cubicBezTo>
                  <a:cubicBezTo>
                    <a:pt x="51877" y="340221"/>
                    <a:pt x="65172" y="335791"/>
                    <a:pt x="79676" y="328542"/>
                  </a:cubicBezTo>
                  <a:cubicBezTo>
                    <a:pt x="92569" y="341832"/>
                    <a:pt x="107476" y="352706"/>
                    <a:pt x="124398" y="361567"/>
                  </a:cubicBezTo>
                  <a:cubicBezTo>
                    <a:pt x="120772" y="375663"/>
                    <a:pt x="119160" y="389759"/>
                    <a:pt x="123592" y="394994"/>
                  </a:cubicBezTo>
                  <a:cubicBezTo>
                    <a:pt x="134873" y="408285"/>
                    <a:pt x="181206" y="413923"/>
                    <a:pt x="188055" y="411104"/>
                  </a:cubicBezTo>
                  <a:cubicBezTo>
                    <a:pt x="191681" y="409493"/>
                    <a:pt x="198531" y="396605"/>
                    <a:pt x="203365" y="380093"/>
                  </a:cubicBezTo>
                  <a:cubicBezTo>
                    <a:pt x="221899" y="380093"/>
                    <a:pt x="239626" y="376871"/>
                    <a:pt x="256950" y="371232"/>
                  </a:cubicBezTo>
                  <a:cubicBezTo>
                    <a:pt x="264606" y="384523"/>
                    <a:pt x="273872" y="396605"/>
                    <a:pt x="281124" y="397411"/>
                  </a:cubicBezTo>
                  <a:cubicBezTo>
                    <a:pt x="298449" y="399022"/>
                    <a:pt x="335515" y="370024"/>
                    <a:pt x="337932" y="363580"/>
                  </a:cubicBezTo>
                  <a:cubicBezTo>
                    <a:pt x="339544" y="359553"/>
                    <a:pt x="334709" y="344249"/>
                    <a:pt x="325443" y="328139"/>
                  </a:cubicBezTo>
                  <a:cubicBezTo>
                    <a:pt x="337530" y="316057"/>
                    <a:pt x="347602" y="301558"/>
                    <a:pt x="355257" y="285851"/>
                  </a:cubicBezTo>
                  <a:cubicBezTo>
                    <a:pt x="370970" y="290281"/>
                    <a:pt x="387489" y="293100"/>
                    <a:pt x="393935" y="287865"/>
                  </a:cubicBezTo>
                  <a:cubicBezTo>
                    <a:pt x="408036" y="276185"/>
                    <a:pt x="414080" y="229869"/>
                    <a:pt x="410857" y="223023"/>
                  </a:cubicBezTo>
                  <a:moveTo>
                    <a:pt x="184429" y="282629"/>
                  </a:moveTo>
                  <a:cubicBezTo>
                    <a:pt x="143334" y="272158"/>
                    <a:pt x="118354" y="230675"/>
                    <a:pt x="128830" y="189595"/>
                  </a:cubicBezTo>
                  <a:cubicBezTo>
                    <a:pt x="139305" y="148515"/>
                    <a:pt x="180803" y="123545"/>
                    <a:pt x="221899" y="134017"/>
                  </a:cubicBezTo>
                  <a:cubicBezTo>
                    <a:pt x="262994" y="144488"/>
                    <a:pt x="287973" y="185970"/>
                    <a:pt x="277498" y="227050"/>
                  </a:cubicBezTo>
                  <a:cubicBezTo>
                    <a:pt x="267023" y="268130"/>
                    <a:pt x="225525" y="293100"/>
                    <a:pt x="184429" y="282629"/>
                  </a:cubicBezTo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9" name="Forme libre 448">
              <a:extLst>
                <a:ext uri="{FF2B5EF4-FFF2-40B4-BE49-F238E27FC236}">
                  <a16:creationId xmlns:a16="http://schemas.microsoft.com/office/drawing/2014/main" id="{685BF047-775A-694F-8F6C-9F07C96D2366}"/>
                </a:ext>
              </a:extLst>
            </p:cNvPr>
            <p:cNvSpPr/>
            <p:nvPr/>
          </p:nvSpPr>
          <p:spPr>
            <a:xfrm>
              <a:off x="1976915" y="2882495"/>
              <a:ext cx="218415" cy="218332"/>
            </a:xfrm>
            <a:custGeom>
              <a:avLst/>
              <a:gdLst>
                <a:gd name="connsiteX0" fmla="*/ 82617 w 218415"/>
                <a:gd name="connsiteY0" fmla="*/ 215088 h 218332"/>
                <a:gd name="connsiteX1" fmla="*/ 3246 w 218415"/>
                <a:gd name="connsiteY1" fmla="*/ 82585 h 218332"/>
                <a:gd name="connsiteX2" fmla="*/ 135799 w 218415"/>
                <a:gd name="connsiteY2" fmla="*/ 3245 h 218332"/>
                <a:gd name="connsiteX3" fmla="*/ 215169 w 218415"/>
                <a:gd name="connsiteY3" fmla="*/ 135747 h 218332"/>
                <a:gd name="connsiteX4" fmla="*/ 82617 w 218415"/>
                <a:gd name="connsiteY4" fmla="*/ 215088 h 218332"/>
                <a:gd name="connsiteX5" fmla="*/ 135396 w 218415"/>
                <a:gd name="connsiteY5" fmla="*/ 4856 h 218332"/>
                <a:gd name="connsiteX6" fmla="*/ 4858 w 218415"/>
                <a:gd name="connsiteY6" fmla="*/ 82988 h 218332"/>
                <a:gd name="connsiteX7" fmla="*/ 83019 w 218415"/>
                <a:gd name="connsiteY7" fmla="*/ 213477 h 218332"/>
                <a:gd name="connsiteX8" fmla="*/ 213558 w 218415"/>
                <a:gd name="connsiteY8" fmla="*/ 135345 h 218332"/>
                <a:gd name="connsiteX9" fmla="*/ 135396 w 218415"/>
                <a:gd name="connsiteY9" fmla="*/ 4856 h 218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8415" h="218332">
                  <a:moveTo>
                    <a:pt x="82617" y="215088"/>
                  </a:moveTo>
                  <a:cubicBezTo>
                    <a:pt x="24197" y="200589"/>
                    <a:pt x="-11258" y="140983"/>
                    <a:pt x="3246" y="82585"/>
                  </a:cubicBezTo>
                  <a:cubicBezTo>
                    <a:pt x="17750" y="24187"/>
                    <a:pt x="77379" y="-11254"/>
                    <a:pt x="135799" y="3245"/>
                  </a:cubicBezTo>
                  <a:cubicBezTo>
                    <a:pt x="194219" y="17744"/>
                    <a:pt x="229673" y="77350"/>
                    <a:pt x="215169" y="135747"/>
                  </a:cubicBezTo>
                  <a:cubicBezTo>
                    <a:pt x="200665" y="194145"/>
                    <a:pt x="141036" y="229587"/>
                    <a:pt x="82617" y="215088"/>
                  </a:cubicBezTo>
                  <a:moveTo>
                    <a:pt x="135396" y="4856"/>
                  </a:moveTo>
                  <a:cubicBezTo>
                    <a:pt x="77782" y="-9643"/>
                    <a:pt x="19362" y="25396"/>
                    <a:pt x="4858" y="82988"/>
                  </a:cubicBezTo>
                  <a:cubicBezTo>
                    <a:pt x="-9647" y="140580"/>
                    <a:pt x="25405" y="198978"/>
                    <a:pt x="83019" y="213477"/>
                  </a:cubicBezTo>
                  <a:cubicBezTo>
                    <a:pt x="140633" y="227976"/>
                    <a:pt x="199053" y="192937"/>
                    <a:pt x="213558" y="135345"/>
                  </a:cubicBezTo>
                  <a:cubicBezTo>
                    <a:pt x="228062" y="77752"/>
                    <a:pt x="193010" y="19355"/>
                    <a:pt x="135396" y="4856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0" name="Forme libre 449">
              <a:extLst>
                <a:ext uri="{FF2B5EF4-FFF2-40B4-BE49-F238E27FC236}">
                  <a16:creationId xmlns:a16="http://schemas.microsoft.com/office/drawing/2014/main" id="{5D58D1AD-F3B4-874B-A56B-B2B6FBE408D3}"/>
                </a:ext>
              </a:extLst>
            </p:cNvPr>
            <p:cNvSpPr/>
            <p:nvPr/>
          </p:nvSpPr>
          <p:spPr>
            <a:xfrm>
              <a:off x="1934633" y="2998105"/>
              <a:ext cx="309423" cy="154640"/>
            </a:xfrm>
            <a:custGeom>
              <a:avLst/>
              <a:gdLst>
                <a:gd name="connsiteX0" fmla="*/ 309424 w 309423"/>
                <a:gd name="connsiteY0" fmla="*/ 805 h 154640"/>
                <a:gd name="connsiteX1" fmla="*/ 307409 w 309423"/>
                <a:gd name="connsiteY1" fmla="*/ 0 h 154640"/>
                <a:gd name="connsiteX2" fmla="*/ 302977 w 309423"/>
                <a:gd name="connsiteY2" fmla="*/ 33830 h 154640"/>
                <a:gd name="connsiteX3" fmla="*/ 113214 w 309423"/>
                <a:gd name="connsiteY3" fmla="*/ 147404 h 154640"/>
                <a:gd name="connsiteX4" fmla="*/ 2014 w 309423"/>
                <a:gd name="connsiteY4" fmla="*/ 42288 h 154640"/>
                <a:gd name="connsiteX5" fmla="*/ 2014 w 309423"/>
                <a:gd name="connsiteY5" fmla="*/ 42288 h 154640"/>
                <a:gd name="connsiteX6" fmla="*/ 0 w 309423"/>
                <a:gd name="connsiteY6" fmla="*/ 42288 h 154640"/>
                <a:gd name="connsiteX7" fmla="*/ 112811 w 309423"/>
                <a:gd name="connsiteY7" fmla="*/ 149820 h 154640"/>
                <a:gd name="connsiteX8" fmla="*/ 304992 w 309423"/>
                <a:gd name="connsiteY8" fmla="*/ 34636 h 154640"/>
                <a:gd name="connsiteX9" fmla="*/ 309424 w 309423"/>
                <a:gd name="connsiteY9" fmla="*/ 805 h 154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9423" h="154640">
                  <a:moveTo>
                    <a:pt x="309424" y="805"/>
                  </a:moveTo>
                  <a:cubicBezTo>
                    <a:pt x="308618" y="403"/>
                    <a:pt x="308215" y="403"/>
                    <a:pt x="307409" y="0"/>
                  </a:cubicBezTo>
                  <a:cubicBezTo>
                    <a:pt x="307006" y="11277"/>
                    <a:pt x="305798" y="22554"/>
                    <a:pt x="302977" y="33830"/>
                  </a:cubicBezTo>
                  <a:cubicBezTo>
                    <a:pt x="282027" y="117601"/>
                    <a:pt x="197016" y="168347"/>
                    <a:pt x="113214" y="147404"/>
                  </a:cubicBezTo>
                  <a:cubicBezTo>
                    <a:pt x="58420" y="133711"/>
                    <a:pt x="17727" y="92228"/>
                    <a:pt x="2014" y="42288"/>
                  </a:cubicBezTo>
                  <a:lnTo>
                    <a:pt x="2014" y="42288"/>
                  </a:lnTo>
                  <a:cubicBezTo>
                    <a:pt x="1209" y="42288"/>
                    <a:pt x="403" y="42288"/>
                    <a:pt x="0" y="42288"/>
                  </a:cubicBezTo>
                  <a:cubicBezTo>
                    <a:pt x="15713" y="93436"/>
                    <a:pt x="57211" y="135724"/>
                    <a:pt x="112811" y="149820"/>
                  </a:cubicBezTo>
                  <a:cubicBezTo>
                    <a:pt x="197419" y="171166"/>
                    <a:pt x="283639" y="119615"/>
                    <a:pt x="304992" y="34636"/>
                  </a:cubicBezTo>
                  <a:cubicBezTo>
                    <a:pt x="307409" y="22956"/>
                    <a:pt x="309021" y="11680"/>
                    <a:pt x="309424" y="805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1" name="Forme libre 450">
              <a:extLst>
                <a:ext uri="{FF2B5EF4-FFF2-40B4-BE49-F238E27FC236}">
                  <a16:creationId xmlns:a16="http://schemas.microsoft.com/office/drawing/2014/main" id="{141E6F33-FE59-9D44-B3BE-F9B8F8EC8B7A}"/>
                </a:ext>
              </a:extLst>
            </p:cNvPr>
            <p:cNvSpPr/>
            <p:nvPr/>
          </p:nvSpPr>
          <p:spPr>
            <a:xfrm>
              <a:off x="2022688" y="2834997"/>
              <a:ext cx="102917" cy="15301"/>
            </a:xfrm>
            <a:custGeom>
              <a:avLst/>
              <a:gdLst>
                <a:gd name="connsiteX0" fmla="*/ 179 w 102917"/>
                <a:gd name="connsiteY0" fmla="*/ 15301 h 15301"/>
                <a:gd name="connsiteX1" fmla="*/ 100903 w 102917"/>
                <a:gd name="connsiteY1" fmla="*/ 6844 h 15301"/>
                <a:gd name="connsiteX2" fmla="*/ 102917 w 102917"/>
                <a:gd name="connsiteY2" fmla="*/ 7246 h 15301"/>
                <a:gd name="connsiteX3" fmla="*/ 102917 w 102917"/>
                <a:gd name="connsiteY3" fmla="*/ 5233 h 15301"/>
                <a:gd name="connsiteX4" fmla="*/ 101709 w 102917"/>
                <a:gd name="connsiteY4" fmla="*/ 4830 h 15301"/>
                <a:gd name="connsiteX5" fmla="*/ 179 w 102917"/>
                <a:gd name="connsiteY5" fmla="*/ 13288 h 15301"/>
                <a:gd name="connsiteX6" fmla="*/ 179 w 102917"/>
                <a:gd name="connsiteY6" fmla="*/ 15301 h 15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2917" h="15301">
                  <a:moveTo>
                    <a:pt x="179" y="15301"/>
                  </a:moveTo>
                  <a:cubicBezTo>
                    <a:pt x="30799" y="2011"/>
                    <a:pt x="65851" y="-2017"/>
                    <a:pt x="100903" y="6844"/>
                  </a:cubicBezTo>
                  <a:cubicBezTo>
                    <a:pt x="101709" y="6844"/>
                    <a:pt x="102112" y="7246"/>
                    <a:pt x="102917" y="7246"/>
                  </a:cubicBezTo>
                  <a:cubicBezTo>
                    <a:pt x="102917" y="6441"/>
                    <a:pt x="102917" y="5635"/>
                    <a:pt x="102917" y="5233"/>
                  </a:cubicBezTo>
                  <a:cubicBezTo>
                    <a:pt x="102515" y="5233"/>
                    <a:pt x="102112" y="4830"/>
                    <a:pt x="101709" y="4830"/>
                  </a:cubicBezTo>
                  <a:cubicBezTo>
                    <a:pt x="66657" y="-4030"/>
                    <a:pt x="31202" y="-406"/>
                    <a:pt x="179" y="13288"/>
                  </a:cubicBezTo>
                  <a:cubicBezTo>
                    <a:pt x="-224" y="14093"/>
                    <a:pt x="179" y="14898"/>
                    <a:pt x="179" y="15301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2" name="Forme libre 451">
              <a:extLst>
                <a:ext uri="{FF2B5EF4-FFF2-40B4-BE49-F238E27FC236}">
                  <a16:creationId xmlns:a16="http://schemas.microsoft.com/office/drawing/2014/main" id="{4D5D7B76-D6B5-DA47-B933-8BC3275110C2}"/>
                </a:ext>
              </a:extLst>
            </p:cNvPr>
            <p:cNvSpPr/>
            <p:nvPr/>
          </p:nvSpPr>
          <p:spPr>
            <a:xfrm>
              <a:off x="1474718" y="2340454"/>
              <a:ext cx="479540" cy="549715"/>
            </a:xfrm>
            <a:custGeom>
              <a:avLst/>
              <a:gdLst>
                <a:gd name="connsiteX0" fmla="*/ 143239 w 479540"/>
                <a:gd name="connsiteY0" fmla="*/ 549716 h 549715"/>
                <a:gd name="connsiteX1" fmla="*/ 324140 w 479540"/>
                <a:gd name="connsiteY1" fmla="*/ 548911 h 549715"/>
                <a:gd name="connsiteX2" fmla="*/ 315679 w 479540"/>
                <a:gd name="connsiteY2" fmla="*/ 451849 h 549715"/>
                <a:gd name="connsiteX3" fmla="*/ 341061 w 479540"/>
                <a:gd name="connsiteY3" fmla="*/ 413186 h 549715"/>
                <a:gd name="connsiteX4" fmla="*/ 474822 w 479540"/>
                <a:gd name="connsiteY4" fmla="*/ 175970 h 549715"/>
                <a:gd name="connsiteX5" fmla="*/ 227445 w 479540"/>
                <a:gd name="connsiteY5" fmla="*/ 777 h 549715"/>
                <a:gd name="connsiteX6" fmla="*/ 211 w 479540"/>
                <a:gd name="connsiteY6" fmla="*/ 201343 h 549715"/>
                <a:gd name="connsiteX7" fmla="*/ 116245 w 479540"/>
                <a:gd name="connsiteY7" fmla="*/ 402312 h 549715"/>
                <a:gd name="connsiteX8" fmla="*/ 148477 w 479540"/>
                <a:gd name="connsiteY8" fmla="*/ 454669 h 549715"/>
                <a:gd name="connsiteX9" fmla="*/ 143239 w 479540"/>
                <a:gd name="connsiteY9" fmla="*/ 549716 h 549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540" h="549715">
                  <a:moveTo>
                    <a:pt x="143239" y="549716"/>
                  </a:moveTo>
                  <a:lnTo>
                    <a:pt x="324140" y="548911"/>
                  </a:lnTo>
                  <a:cubicBezTo>
                    <a:pt x="324140" y="548911"/>
                    <a:pt x="310441" y="493735"/>
                    <a:pt x="315679" y="451849"/>
                  </a:cubicBezTo>
                  <a:cubicBezTo>
                    <a:pt x="317693" y="435740"/>
                    <a:pt x="327363" y="421644"/>
                    <a:pt x="341061" y="413186"/>
                  </a:cubicBezTo>
                  <a:cubicBezTo>
                    <a:pt x="518335" y="302432"/>
                    <a:pt x="474822" y="175970"/>
                    <a:pt x="474822" y="175970"/>
                  </a:cubicBezTo>
                  <a:cubicBezTo>
                    <a:pt x="474822" y="175970"/>
                    <a:pt x="455484" y="15276"/>
                    <a:pt x="227445" y="777"/>
                  </a:cubicBezTo>
                  <a:cubicBezTo>
                    <a:pt x="-15501" y="-14527"/>
                    <a:pt x="211" y="201343"/>
                    <a:pt x="211" y="201343"/>
                  </a:cubicBezTo>
                  <a:cubicBezTo>
                    <a:pt x="211" y="201343"/>
                    <a:pt x="-10264" y="321361"/>
                    <a:pt x="116245" y="402312"/>
                  </a:cubicBezTo>
                  <a:cubicBezTo>
                    <a:pt x="134376" y="413992"/>
                    <a:pt x="145657" y="433323"/>
                    <a:pt x="148477" y="454669"/>
                  </a:cubicBezTo>
                  <a:cubicBezTo>
                    <a:pt x="155326" y="507831"/>
                    <a:pt x="143239" y="549716"/>
                    <a:pt x="143239" y="549716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3" name="Forme libre 452">
              <a:extLst>
                <a:ext uri="{FF2B5EF4-FFF2-40B4-BE49-F238E27FC236}">
                  <a16:creationId xmlns:a16="http://schemas.microsoft.com/office/drawing/2014/main" id="{1CCB8628-C550-7346-BD0C-4CE52413BC48}"/>
                </a:ext>
              </a:extLst>
            </p:cNvPr>
            <p:cNvSpPr/>
            <p:nvPr/>
          </p:nvSpPr>
          <p:spPr>
            <a:xfrm>
              <a:off x="1618360" y="2888962"/>
              <a:ext cx="180900" cy="109546"/>
            </a:xfrm>
            <a:custGeom>
              <a:avLst/>
              <a:gdLst>
                <a:gd name="connsiteX0" fmla="*/ 180497 w 180900"/>
                <a:gd name="connsiteY0" fmla="*/ 0 h 109546"/>
                <a:gd name="connsiteX1" fmla="*/ 180900 w 180900"/>
                <a:gd name="connsiteY1" fmla="*/ 64842 h 109546"/>
                <a:gd name="connsiteX2" fmla="*/ 145848 w 180900"/>
                <a:gd name="connsiteY2" fmla="*/ 109143 h 109546"/>
                <a:gd name="connsiteX3" fmla="*/ 35858 w 180900"/>
                <a:gd name="connsiteY3" fmla="*/ 109546 h 109546"/>
                <a:gd name="connsiteX4" fmla="*/ 403 w 180900"/>
                <a:gd name="connsiteY4" fmla="*/ 65647 h 109546"/>
                <a:gd name="connsiteX5" fmla="*/ 0 w 180900"/>
                <a:gd name="connsiteY5" fmla="*/ 805 h 109546"/>
                <a:gd name="connsiteX6" fmla="*/ 180497 w 180900"/>
                <a:gd name="connsiteY6" fmla="*/ 0 h 10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00" h="109546">
                  <a:moveTo>
                    <a:pt x="180497" y="0"/>
                  </a:moveTo>
                  <a:lnTo>
                    <a:pt x="180900" y="64842"/>
                  </a:lnTo>
                  <a:cubicBezTo>
                    <a:pt x="180900" y="89006"/>
                    <a:pt x="165187" y="109143"/>
                    <a:pt x="145848" y="109143"/>
                  </a:cubicBezTo>
                  <a:lnTo>
                    <a:pt x="35858" y="109546"/>
                  </a:lnTo>
                  <a:cubicBezTo>
                    <a:pt x="16519" y="109546"/>
                    <a:pt x="403" y="89812"/>
                    <a:pt x="403" y="65647"/>
                  </a:cubicBezTo>
                  <a:lnTo>
                    <a:pt x="0" y="805"/>
                  </a:lnTo>
                  <a:lnTo>
                    <a:pt x="180497" y="0"/>
                  </a:lnTo>
                  <a:close/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4" name="Forme libre 453">
              <a:extLst>
                <a:ext uri="{FF2B5EF4-FFF2-40B4-BE49-F238E27FC236}">
                  <a16:creationId xmlns:a16="http://schemas.microsoft.com/office/drawing/2014/main" id="{3C648210-992F-8F48-840C-AA4BD38022E1}"/>
                </a:ext>
              </a:extLst>
            </p:cNvPr>
            <p:cNvSpPr/>
            <p:nvPr/>
          </p:nvSpPr>
          <p:spPr>
            <a:xfrm>
              <a:off x="1657038" y="2998105"/>
              <a:ext cx="95889" cy="30205"/>
            </a:xfrm>
            <a:custGeom>
              <a:avLst/>
              <a:gdLst>
                <a:gd name="connsiteX0" fmla="*/ 95889 w 95889"/>
                <a:gd name="connsiteY0" fmla="*/ 0 h 30205"/>
                <a:gd name="connsiteX1" fmla="*/ 83399 w 95889"/>
                <a:gd name="connsiteY1" fmla="*/ 29803 h 30205"/>
                <a:gd name="connsiteX2" fmla="*/ 14907 w 95889"/>
                <a:gd name="connsiteY2" fmla="*/ 30206 h 30205"/>
                <a:gd name="connsiteX3" fmla="*/ 0 w 95889"/>
                <a:gd name="connsiteY3" fmla="*/ 403 h 30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889" h="30205">
                  <a:moveTo>
                    <a:pt x="95889" y="0"/>
                  </a:moveTo>
                  <a:lnTo>
                    <a:pt x="83399" y="29803"/>
                  </a:lnTo>
                  <a:lnTo>
                    <a:pt x="14907" y="30206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rgbClr val="00898C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5" name="Forme libre 454">
              <a:extLst>
                <a:ext uri="{FF2B5EF4-FFF2-40B4-BE49-F238E27FC236}">
                  <a16:creationId xmlns:a16="http://schemas.microsoft.com/office/drawing/2014/main" id="{82BCA946-3A27-794B-9D71-0E5E6B71CA84}"/>
                </a:ext>
              </a:extLst>
            </p:cNvPr>
            <p:cNvSpPr/>
            <p:nvPr/>
          </p:nvSpPr>
          <p:spPr>
            <a:xfrm>
              <a:off x="1622951" y="2543833"/>
              <a:ext cx="181861" cy="345933"/>
            </a:xfrm>
            <a:custGeom>
              <a:avLst/>
              <a:gdLst>
                <a:gd name="connsiteX0" fmla="*/ 175504 w 181861"/>
                <a:gd name="connsiteY0" fmla="*/ 57570 h 345933"/>
                <a:gd name="connsiteX1" fmla="*/ 102983 w 181861"/>
                <a:gd name="connsiteY1" fmla="*/ 16490 h 345933"/>
                <a:gd name="connsiteX2" fmla="*/ 94522 w 181861"/>
                <a:gd name="connsiteY2" fmla="*/ 40252 h 345933"/>
                <a:gd name="connsiteX3" fmla="*/ 94522 w 181861"/>
                <a:gd name="connsiteY3" fmla="*/ 79318 h 345933"/>
                <a:gd name="connsiteX4" fmla="*/ 66319 w 181861"/>
                <a:gd name="connsiteY4" fmla="*/ 72874 h 345933"/>
                <a:gd name="connsiteX5" fmla="*/ 61888 w 181861"/>
                <a:gd name="connsiteY5" fmla="*/ 30586 h 345933"/>
                <a:gd name="connsiteX6" fmla="*/ 13137 w 181861"/>
                <a:gd name="connsiteY6" fmla="*/ 58375 h 345933"/>
                <a:gd name="connsiteX7" fmla="*/ 53024 w 181861"/>
                <a:gd name="connsiteY7" fmla="*/ 79721 h 345933"/>
                <a:gd name="connsiteX8" fmla="*/ 56650 w 181861"/>
                <a:gd name="connsiteY8" fmla="*/ 345934 h 345933"/>
                <a:gd name="connsiteX9" fmla="*/ 69140 w 181861"/>
                <a:gd name="connsiteY9" fmla="*/ 345934 h 345933"/>
                <a:gd name="connsiteX10" fmla="*/ 66722 w 181861"/>
                <a:gd name="connsiteY10" fmla="*/ 182420 h 345933"/>
                <a:gd name="connsiteX11" fmla="*/ 65514 w 181861"/>
                <a:gd name="connsiteY11" fmla="*/ 97441 h 345933"/>
                <a:gd name="connsiteX12" fmla="*/ 65514 w 181861"/>
                <a:gd name="connsiteY12" fmla="*/ 83345 h 345933"/>
                <a:gd name="connsiteX13" fmla="*/ 92910 w 181861"/>
                <a:gd name="connsiteY13" fmla="*/ 88178 h 345933"/>
                <a:gd name="connsiteX14" fmla="*/ 94119 w 181861"/>
                <a:gd name="connsiteY14" fmla="*/ 345934 h 345933"/>
                <a:gd name="connsiteX15" fmla="*/ 106609 w 181861"/>
                <a:gd name="connsiteY15" fmla="*/ 345934 h 345933"/>
                <a:gd name="connsiteX16" fmla="*/ 105400 w 181861"/>
                <a:gd name="connsiteY16" fmla="*/ 89387 h 345933"/>
                <a:gd name="connsiteX17" fmla="*/ 112652 w 181861"/>
                <a:gd name="connsiteY17" fmla="*/ 89789 h 345933"/>
                <a:gd name="connsiteX18" fmla="*/ 175504 w 181861"/>
                <a:gd name="connsiteY18" fmla="*/ 57570 h 345933"/>
                <a:gd name="connsiteX19" fmla="*/ 53427 w 181861"/>
                <a:gd name="connsiteY19" fmla="*/ 68847 h 345933"/>
                <a:gd name="connsiteX20" fmla="*/ 8705 w 181861"/>
                <a:gd name="connsiteY20" fmla="*/ 34211 h 345933"/>
                <a:gd name="connsiteX21" fmla="*/ 13137 w 181861"/>
                <a:gd name="connsiteY21" fmla="*/ 22934 h 345933"/>
                <a:gd name="connsiteX22" fmla="*/ 52621 w 181861"/>
                <a:gd name="connsiteY22" fmla="*/ 51126 h 345933"/>
                <a:gd name="connsiteX23" fmla="*/ 53427 w 181861"/>
                <a:gd name="connsiteY23" fmla="*/ 68847 h 345933"/>
                <a:gd name="connsiteX24" fmla="*/ 165029 w 181861"/>
                <a:gd name="connsiteY24" fmla="*/ 55556 h 345933"/>
                <a:gd name="connsiteX25" fmla="*/ 105803 w 181861"/>
                <a:gd name="connsiteY25" fmla="*/ 80526 h 345933"/>
                <a:gd name="connsiteX26" fmla="*/ 105400 w 181861"/>
                <a:gd name="connsiteY26" fmla="*/ 41057 h 345933"/>
                <a:gd name="connsiteX27" fmla="*/ 113458 w 181861"/>
                <a:gd name="connsiteY27" fmla="*/ 21323 h 345933"/>
                <a:gd name="connsiteX28" fmla="*/ 159791 w 181861"/>
                <a:gd name="connsiteY28" fmla="*/ 12463 h 345933"/>
                <a:gd name="connsiteX29" fmla="*/ 165029 w 181861"/>
                <a:gd name="connsiteY29" fmla="*/ 55556 h 345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1861" h="345933">
                  <a:moveTo>
                    <a:pt x="175504" y="57570"/>
                  </a:moveTo>
                  <a:cubicBezTo>
                    <a:pt x="202901" y="6421"/>
                    <a:pt x="134812" y="-18951"/>
                    <a:pt x="102983" y="16490"/>
                  </a:cubicBezTo>
                  <a:cubicBezTo>
                    <a:pt x="97342" y="22934"/>
                    <a:pt x="94522" y="31391"/>
                    <a:pt x="94522" y="40252"/>
                  </a:cubicBezTo>
                  <a:cubicBezTo>
                    <a:pt x="94119" y="55556"/>
                    <a:pt x="94522" y="79318"/>
                    <a:pt x="94522" y="79318"/>
                  </a:cubicBezTo>
                  <a:cubicBezTo>
                    <a:pt x="84853" y="77707"/>
                    <a:pt x="74377" y="75290"/>
                    <a:pt x="66319" y="72874"/>
                  </a:cubicBezTo>
                  <a:cubicBezTo>
                    <a:pt x="66722" y="58375"/>
                    <a:pt x="66319" y="43071"/>
                    <a:pt x="61888" y="30586"/>
                  </a:cubicBezTo>
                  <a:cubicBezTo>
                    <a:pt x="42549" y="-25395"/>
                    <a:pt x="-29167" y="18504"/>
                    <a:pt x="13137" y="58375"/>
                  </a:cubicBezTo>
                  <a:cubicBezTo>
                    <a:pt x="22807" y="67638"/>
                    <a:pt x="37714" y="74485"/>
                    <a:pt x="53024" y="79721"/>
                  </a:cubicBezTo>
                  <a:cubicBezTo>
                    <a:pt x="54233" y="168324"/>
                    <a:pt x="55441" y="257330"/>
                    <a:pt x="56650" y="345934"/>
                  </a:cubicBezTo>
                  <a:lnTo>
                    <a:pt x="69140" y="345934"/>
                  </a:lnTo>
                  <a:cubicBezTo>
                    <a:pt x="68334" y="291564"/>
                    <a:pt x="67528" y="236791"/>
                    <a:pt x="66722" y="182420"/>
                  </a:cubicBezTo>
                  <a:cubicBezTo>
                    <a:pt x="66319" y="154228"/>
                    <a:pt x="65917" y="125633"/>
                    <a:pt x="65514" y="97441"/>
                  </a:cubicBezTo>
                  <a:cubicBezTo>
                    <a:pt x="65514" y="93011"/>
                    <a:pt x="65514" y="88178"/>
                    <a:pt x="65514" y="83345"/>
                  </a:cubicBezTo>
                  <a:cubicBezTo>
                    <a:pt x="74780" y="85762"/>
                    <a:pt x="84047" y="86970"/>
                    <a:pt x="92910" y="88178"/>
                  </a:cubicBezTo>
                  <a:lnTo>
                    <a:pt x="94119" y="345934"/>
                  </a:lnTo>
                  <a:lnTo>
                    <a:pt x="106609" y="345934"/>
                  </a:lnTo>
                  <a:lnTo>
                    <a:pt x="105400" y="89387"/>
                  </a:lnTo>
                  <a:cubicBezTo>
                    <a:pt x="107818" y="89387"/>
                    <a:pt x="110638" y="89789"/>
                    <a:pt x="112652" y="89789"/>
                  </a:cubicBezTo>
                  <a:cubicBezTo>
                    <a:pt x="136826" y="88581"/>
                    <a:pt x="163820" y="79721"/>
                    <a:pt x="175504" y="57570"/>
                  </a:cubicBezTo>
                  <a:moveTo>
                    <a:pt x="53427" y="68847"/>
                  </a:moveTo>
                  <a:cubicBezTo>
                    <a:pt x="36102" y="63208"/>
                    <a:pt x="11123" y="51529"/>
                    <a:pt x="8705" y="34211"/>
                  </a:cubicBezTo>
                  <a:cubicBezTo>
                    <a:pt x="8302" y="29780"/>
                    <a:pt x="9914" y="25753"/>
                    <a:pt x="13137" y="22934"/>
                  </a:cubicBezTo>
                  <a:cubicBezTo>
                    <a:pt x="43757" y="-4453"/>
                    <a:pt x="52621" y="44682"/>
                    <a:pt x="52621" y="51126"/>
                  </a:cubicBezTo>
                  <a:cubicBezTo>
                    <a:pt x="53427" y="56362"/>
                    <a:pt x="53427" y="62805"/>
                    <a:pt x="53427" y="68847"/>
                  </a:cubicBezTo>
                  <a:moveTo>
                    <a:pt x="165029" y="55556"/>
                  </a:moveTo>
                  <a:cubicBezTo>
                    <a:pt x="151330" y="76499"/>
                    <a:pt x="128768" y="82137"/>
                    <a:pt x="105803" y="80526"/>
                  </a:cubicBezTo>
                  <a:lnTo>
                    <a:pt x="105400" y="41057"/>
                  </a:lnTo>
                  <a:cubicBezTo>
                    <a:pt x="105400" y="33808"/>
                    <a:pt x="108221" y="26559"/>
                    <a:pt x="113458" y="21323"/>
                  </a:cubicBezTo>
                  <a:cubicBezTo>
                    <a:pt x="122725" y="12060"/>
                    <a:pt x="139243" y="2394"/>
                    <a:pt x="159791" y="12463"/>
                  </a:cubicBezTo>
                  <a:cubicBezTo>
                    <a:pt x="172684" y="20920"/>
                    <a:pt x="174295" y="41460"/>
                    <a:pt x="165029" y="55556"/>
                  </a:cubicBezTo>
                </a:path>
              </a:pathLst>
            </a:custGeom>
            <a:solidFill>
              <a:srgbClr val="FFFFFF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6" name="Forme libre 455">
              <a:extLst>
                <a:ext uri="{FF2B5EF4-FFF2-40B4-BE49-F238E27FC236}">
                  <a16:creationId xmlns:a16="http://schemas.microsoft.com/office/drawing/2014/main" id="{ADDB9F81-A8B3-7642-B6AF-A2E280265218}"/>
                </a:ext>
              </a:extLst>
            </p:cNvPr>
            <p:cNvSpPr/>
            <p:nvPr/>
          </p:nvSpPr>
          <p:spPr>
            <a:xfrm>
              <a:off x="1362219" y="2191108"/>
              <a:ext cx="110997" cy="110049"/>
            </a:xfrm>
            <a:custGeom>
              <a:avLst/>
              <a:gdLst>
                <a:gd name="connsiteX0" fmla="*/ 108278 w 110997"/>
                <a:gd name="connsiteY0" fmla="*/ 107029 h 110049"/>
                <a:gd name="connsiteX1" fmla="*/ 108278 w 110997"/>
                <a:gd name="connsiteY1" fmla="*/ 93336 h 110049"/>
                <a:gd name="connsiteX2" fmla="*/ 16418 w 110997"/>
                <a:gd name="connsiteY2" fmla="*/ 2719 h 110049"/>
                <a:gd name="connsiteX3" fmla="*/ 2720 w 110997"/>
                <a:gd name="connsiteY3" fmla="*/ 2719 h 110049"/>
                <a:gd name="connsiteX4" fmla="*/ 2720 w 110997"/>
                <a:gd name="connsiteY4" fmla="*/ 16412 h 110049"/>
                <a:gd name="connsiteX5" fmla="*/ 94580 w 110997"/>
                <a:gd name="connsiteY5" fmla="*/ 107029 h 110049"/>
                <a:gd name="connsiteX6" fmla="*/ 108278 w 110997"/>
                <a:gd name="connsiteY6" fmla="*/ 107029 h 110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997" h="110049">
                  <a:moveTo>
                    <a:pt x="108278" y="107029"/>
                  </a:moveTo>
                  <a:cubicBezTo>
                    <a:pt x="111904" y="103404"/>
                    <a:pt x="111904" y="97363"/>
                    <a:pt x="108278" y="93336"/>
                  </a:cubicBezTo>
                  <a:lnTo>
                    <a:pt x="16418" y="2719"/>
                  </a:lnTo>
                  <a:cubicBezTo>
                    <a:pt x="12792" y="-906"/>
                    <a:pt x="6749" y="-906"/>
                    <a:pt x="2720" y="2719"/>
                  </a:cubicBezTo>
                  <a:cubicBezTo>
                    <a:pt x="-907" y="6343"/>
                    <a:pt x="-907" y="12384"/>
                    <a:pt x="2720" y="16412"/>
                  </a:cubicBezTo>
                  <a:lnTo>
                    <a:pt x="94580" y="107029"/>
                  </a:lnTo>
                  <a:cubicBezTo>
                    <a:pt x="98609" y="111056"/>
                    <a:pt x="104652" y="111056"/>
                    <a:pt x="108278" y="107029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7" name="Forme libre 456">
              <a:extLst>
                <a:ext uri="{FF2B5EF4-FFF2-40B4-BE49-F238E27FC236}">
                  <a16:creationId xmlns:a16="http://schemas.microsoft.com/office/drawing/2014/main" id="{0717353B-7F88-D14A-93B9-2A931BED229C}"/>
                </a:ext>
              </a:extLst>
            </p:cNvPr>
            <p:cNvSpPr/>
            <p:nvPr/>
          </p:nvSpPr>
          <p:spPr>
            <a:xfrm>
              <a:off x="1871077" y="2187886"/>
              <a:ext cx="109788" cy="110955"/>
            </a:xfrm>
            <a:custGeom>
              <a:avLst/>
              <a:gdLst>
                <a:gd name="connsiteX0" fmla="*/ 2720 w 109788"/>
                <a:gd name="connsiteY0" fmla="*/ 108237 h 110955"/>
                <a:gd name="connsiteX1" fmla="*/ 2720 w 109788"/>
                <a:gd name="connsiteY1" fmla="*/ 94544 h 110955"/>
                <a:gd name="connsiteX2" fmla="*/ 93371 w 109788"/>
                <a:gd name="connsiteY2" fmla="*/ 2718 h 110955"/>
                <a:gd name="connsiteX3" fmla="*/ 107069 w 109788"/>
                <a:gd name="connsiteY3" fmla="*/ 2718 h 110955"/>
                <a:gd name="connsiteX4" fmla="*/ 107069 w 109788"/>
                <a:gd name="connsiteY4" fmla="*/ 16412 h 110955"/>
                <a:gd name="connsiteX5" fmla="*/ 16418 w 109788"/>
                <a:gd name="connsiteY5" fmla="*/ 108237 h 110955"/>
                <a:gd name="connsiteX6" fmla="*/ 2720 w 109788"/>
                <a:gd name="connsiteY6" fmla="*/ 108237 h 11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9788" h="110955">
                  <a:moveTo>
                    <a:pt x="2720" y="108237"/>
                  </a:moveTo>
                  <a:cubicBezTo>
                    <a:pt x="-907" y="104613"/>
                    <a:pt x="-907" y="98571"/>
                    <a:pt x="2720" y="94544"/>
                  </a:cubicBezTo>
                  <a:lnTo>
                    <a:pt x="93371" y="2718"/>
                  </a:lnTo>
                  <a:cubicBezTo>
                    <a:pt x="96997" y="-906"/>
                    <a:pt x="103041" y="-906"/>
                    <a:pt x="107069" y="2718"/>
                  </a:cubicBezTo>
                  <a:cubicBezTo>
                    <a:pt x="110696" y="6343"/>
                    <a:pt x="110696" y="12384"/>
                    <a:pt x="107069" y="16412"/>
                  </a:cubicBezTo>
                  <a:lnTo>
                    <a:pt x="16418" y="108237"/>
                  </a:lnTo>
                  <a:cubicBezTo>
                    <a:pt x="12389" y="111862"/>
                    <a:pt x="6346" y="111862"/>
                    <a:pt x="2720" y="108237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8" name="Forme libre 457">
              <a:extLst>
                <a:ext uri="{FF2B5EF4-FFF2-40B4-BE49-F238E27FC236}">
                  <a16:creationId xmlns:a16="http://schemas.microsoft.com/office/drawing/2014/main" id="{FD9C176E-D568-1143-8136-E9F65336150D}"/>
                </a:ext>
              </a:extLst>
            </p:cNvPr>
            <p:cNvSpPr/>
            <p:nvPr/>
          </p:nvSpPr>
          <p:spPr>
            <a:xfrm>
              <a:off x="1690479" y="2114889"/>
              <a:ext cx="20144" cy="148612"/>
            </a:xfrm>
            <a:custGeom>
              <a:avLst/>
              <a:gdLst>
                <a:gd name="connsiteX0" fmla="*/ 10475 w 20144"/>
                <a:gd name="connsiteY0" fmla="*/ 148612 h 148612"/>
                <a:gd name="connsiteX1" fmla="*/ 20145 w 20144"/>
                <a:gd name="connsiteY1" fmla="*/ 138946 h 148612"/>
                <a:gd name="connsiteX2" fmla="*/ 19339 w 20144"/>
                <a:gd name="connsiteY2" fmla="*/ 9666 h 148612"/>
                <a:gd name="connsiteX3" fmla="*/ 9669 w 20144"/>
                <a:gd name="connsiteY3" fmla="*/ 0 h 148612"/>
                <a:gd name="connsiteX4" fmla="*/ 0 w 20144"/>
                <a:gd name="connsiteY4" fmla="*/ 9666 h 148612"/>
                <a:gd name="connsiteX5" fmla="*/ 806 w 20144"/>
                <a:gd name="connsiteY5" fmla="*/ 138946 h 148612"/>
                <a:gd name="connsiteX6" fmla="*/ 10475 w 20144"/>
                <a:gd name="connsiteY6" fmla="*/ 148612 h 14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144" h="148612">
                  <a:moveTo>
                    <a:pt x="10475" y="148612"/>
                  </a:moveTo>
                  <a:cubicBezTo>
                    <a:pt x="15713" y="148612"/>
                    <a:pt x="20145" y="144182"/>
                    <a:pt x="20145" y="138946"/>
                  </a:cubicBezTo>
                  <a:lnTo>
                    <a:pt x="19339" y="9666"/>
                  </a:lnTo>
                  <a:cubicBezTo>
                    <a:pt x="19339" y="4430"/>
                    <a:pt x="14907" y="0"/>
                    <a:pt x="9669" y="0"/>
                  </a:cubicBezTo>
                  <a:cubicBezTo>
                    <a:pt x="4432" y="0"/>
                    <a:pt x="0" y="4430"/>
                    <a:pt x="0" y="9666"/>
                  </a:cubicBezTo>
                  <a:lnTo>
                    <a:pt x="806" y="138946"/>
                  </a:lnTo>
                  <a:cubicBezTo>
                    <a:pt x="806" y="144182"/>
                    <a:pt x="5238" y="148612"/>
                    <a:pt x="10475" y="148612"/>
                  </a:cubicBezTo>
                </a:path>
              </a:pathLst>
            </a:custGeom>
            <a:solidFill>
              <a:srgbClr val="FFD24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9" name="Forme libre 458">
              <a:extLst>
                <a:ext uri="{FF2B5EF4-FFF2-40B4-BE49-F238E27FC236}">
                  <a16:creationId xmlns:a16="http://schemas.microsoft.com/office/drawing/2014/main" id="{BA7FD85B-1BED-A44F-A0CB-9A084E6D91CF}"/>
                </a:ext>
              </a:extLst>
            </p:cNvPr>
            <p:cNvSpPr/>
            <p:nvPr/>
          </p:nvSpPr>
          <p:spPr>
            <a:xfrm>
              <a:off x="2374595" y="2789484"/>
              <a:ext cx="172439" cy="50745"/>
            </a:xfrm>
            <a:custGeom>
              <a:avLst/>
              <a:gdLst>
                <a:gd name="connsiteX0" fmla="*/ 153906 w 172439"/>
                <a:gd name="connsiteY0" fmla="*/ 14499 h 50745"/>
                <a:gd name="connsiteX1" fmla="*/ 172439 w 172439"/>
                <a:gd name="connsiteY1" fmla="*/ 50746 h 50745"/>
                <a:gd name="connsiteX2" fmla="*/ 133359 w 172439"/>
                <a:gd name="connsiteY2" fmla="*/ 41885 h 50745"/>
                <a:gd name="connsiteX3" fmla="*/ 0 w 172439"/>
                <a:gd name="connsiteY3" fmla="*/ 0 h 5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439" h="50745">
                  <a:moveTo>
                    <a:pt x="153906" y="14499"/>
                  </a:moveTo>
                  <a:lnTo>
                    <a:pt x="172439" y="50746"/>
                  </a:lnTo>
                  <a:lnTo>
                    <a:pt x="133359" y="418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0D9C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0" name="Forme libre 459">
              <a:extLst>
                <a:ext uri="{FF2B5EF4-FFF2-40B4-BE49-F238E27FC236}">
                  <a16:creationId xmlns:a16="http://schemas.microsoft.com/office/drawing/2014/main" id="{F309A8E2-77A8-9B4C-B3E1-022AC0CCD9F5}"/>
                </a:ext>
              </a:extLst>
            </p:cNvPr>
            <p:cNvSpPr/>
            <p:nvPr/>
          </p:nvSpPr>
          <p:spPr>
            <a:xfrm>
              <a:off x="2480960" y="2828147"/>
              <a:ext cx="66074" cy="12082"/>
            </a:xfrm>
            <a:custGeom>
              <a:avLst/>
              <a:gdLst>
                <a:gd name="connsiteX0" fmla="*/ 66075 w 66074"/>
                <a:gd name="connsiteY0" fmla="*/ 12082 h 12082"/>
                <a:gd name="connsiteX1" fmla="*/ 0 w 66074"/>
                <a:gd name="connsiteY1" fmla="*/ 8055 h 12082"/>
                <a:gd name="connsiteX2" fmla="*/ 16116 w 66074"/>
                <a:gd name="connsiteY2" fmla="*/ 0 h 12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074" h="12082">
                  <a:moveTo>
                    <a:pt x="66075" y="12082"/>
                  </a:moveTo>
                  <a:lnTo>
                    <a:pt x="0" y="8055"/>
                  </a:lnTo>
                  <a:lnTo>
                    <a:pt x="16116" y="0"/>
                  </a:lnTo>
                  <a:close/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1" name="Forme libre 460">
              <a:extLst>
                <a:ext uri="{FF2B5EF4-FFF2-40B4-BE49-F238E27FC236}">
                  <a16:creationId xmlns:a16="http://schemas.microsoft.com/office/drawing/2014/main" id="{D9C14A64-03D0-2E41-8ADD-4D470713F651}"/>
                </a:ext>
              </a:extLst>
            </p:cNvPr>
            <p:cNvSpPr/>
            <p:nvPr/>
          </p:nvSpPr>
          <p:spPr>
            <a:xfrm>
              <a:off x="2374595" y="2768139"/>
              <a:ext cx="165590" cy="35844"/>
            </a:xfrm>
            <a:custGeom>
              <a:avLst/>
              <a:gdLst>
                <a:gd name="connsiteX0" fmla="*/ 0 w 165590"/>
                <a:gd name="connsiteY0" fmla="*/ 21345 h 35844"/>
                <a:gd name="connsiteX1" fmla="*/ 153906 w 165590"/>
                <a:gd name="connsiteY1" fmla="*/ 35844 h 35844"/>
                <a:gd name="connsiteX2" fmla="*/ 165590 w 165590"/>
                <a:gd name="connsiteY2" fmla="*/ 0 h 3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5590" h="35844">
                  <a:moveTo>
                    <a:pt x="0" y="21345"/>
                  </a:moveTo>
                  <a:lnTo>
                    <a:pt x="153906" y="35844"/>
                  </a:lnTo>
                  <a:lnTo>
                    <a:pt x="165590" y="0"/>
                  </a:lnTo>
                  <a:close/>
                </a:path>
              </a:pathLst>
            </a:custGeom>
            <a:solidFill>
              <a:srgbClr val="F1F8F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2" name="Forme libre 461">
              <a:extLst>
                <a:ext uri="{FF2B5EF4-FFF2-40B4-BE49-F238E27FC236}">
                  <a16:creationId xmlns:a16="http://schemas.microsoft.com/office/drawing/2014/main" id="{54D1E21E-ADE7-5D45-8CFB-3EC550B29CE7}"/>
                </a:ext>
              </a:extLst>
            </p:cNvPr>
            <p:cNvSpPr/>
            <p:nvPr/>
          </p:nvSpPr>
          <p:spPr>
            <a:xfrm>
              <a:off x="2374595" y="2789484"/>
              <a:ext cx="133358" cy="93033"/>
            </a:xfrm>
            <a:custGeom>
              <a:avLst/>
              <a:gdLst>
                <a:gd name="connsiteX0" fmla="*/ 0 w 133358"/>
                <a:gd name="connsiteY0" fmla="*/ 0 h 93033"/>
                <a:gd name="connsiteX1" fmla="*/ 113617 w 133358"/>
                <a:gd name="connsiteY1" fmla="*/ 93034 h 93033"/>
                <a:gd name="connsiteX2" fmla="*/ 133359 w 133358"/>
                <a:gd name="connsiteY2" fmla="*/ 41885 h 9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58" h="93033">
                  <a:moveTo>
                    <a:pt x="0" y="0"/>
                  </a:moveTo>
                  <a:lnTo>
                    <a:pt x="113617" y="93034"/>
                  </a:lnTo>
                  <a:lnTo>
                    <a:pt x="133359" y="41885"/>
                  </a:lnTo>
                  <a:close/>
                </a:path>
              </a:pathLst>
            </a:custGeom>
            <a:solidFill>
              <a:srgbClr val="F1F8F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463" name="Illustration">
              <a:extLst>
                <a:ext uri="{FF2B5EF4-FFF2-40B4-BE49-F238E27FC236}">
                  <a16:creationId xmlns:a16="http://schemas.microsoft.com/office/drawing/2014/main" id="{5E858459-5B75-C840-8E02-2EB962E99380}"/>
                </a:ext>
              </a:extLst>
            </p:cNvPr>
            <p:cNvGrpSpPr/>
            <p:nvPr/>
          </p:nvGrpSpPr>
          <p:grpSpPr>
            <a:xfrm>
              <a:off x="2393885" y="2861978"/>
              <a:ext cx="173650" cy="380081"/>
              <a:chOff x="2393885" y="2861978"/>
              <a:chExt cx="173650" cy="380081"/>
            </a:xfrm>
            <a:solidFill>
              <a:srgbClr val="63C1C5"/>
            </a:solidFill>
          </p:grpSpPr>
          <p:sp>
            <p:nvSpPr>
              <p:cNvPr id="464" name="Forme libre 463">
                <a:extLst>
                  <a:ext uri="{FF2B5EF4-FFF2-40B4-BE49-F238E27FC236}">
                    <a16:creationId xmlns:a16="http://schemas.microsoft.com/office/drawing/2014/main" id="{E9157A9C-3E7F-0344-877C-DD14D4050392}"/>
                  </a:ext>
                </a:extLst>
              </p:cNvPr>
              <p:cNvSpPr/>
              <p:nvPr/>
            </p:nvSpPr>
            <p:spPr>
              <a:xfrm>
                <a:off x="2514803" y="2861978"/>
                <a:ext cx="19263" cy="15366"/>
              </a:xfrm>
              <a:custGeom>
                <a:avLst/>
                <a:gdLst>
                  <a:gd name="connsiteX0" fmla="*/ 17727 w 19263"/>
                  <a:gd name="connsiteY0" fmla="*/ 14902 h 15366"/>
                  <a:gd name="connsiteX1" fmla="*/ 18533 w 19263"/>
                  <a:gd name="connsiteY1" fmla="*/ 14096 h 15366"/>
                  <a:gd name="connsiteX2" fmla="*/ 18130 w 19263"/>
                  <a:gd name="connsiteY2" fmla="*/ 9666 h 15366"/>
                  <a:gd name="connsiteX3" fmla="*/ 4835 w 19263"/>
                  <a:gd name="connsiteY3" fmla="*/ 403 h 15366"/>
                  <a:gd name="connsiteX4" fmla="*/ 403 w 19263"/>
                  <a:gd name="connsiteY4" fmla="*/ 1611 h 15366"/>
                  <a:gd name="connsiteX5" fmla="*/ 1612 w 19263"/>
                  <a:gd name="connsiteY5" fmla="*/ 6041 h 15366"/>
                  <a:gd name="connsiteX6" fmla="*/ 13698 w 19263"/>
                  <a:gd name="connsiteY6" fmla="*/ 14902 h 15366"/>
                  <a:gd name="connsiteX7" fmla="*/ 17727 w 19263"/>
                  <a:gd name="connsiteY7" fmla="*/ 14902 h 15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263" h="15366">
                    <a:moveTo>
                      <a:pt x="17727" y="14902"/>
                    </a:moveTo>
                    <a:cubicBezTo>
                      <a:pt x="18130" y="14902"/>
                      <a:pt x="18533" y="14499"/>
                      <a:pt x="18533" y="14096"/>
                    </a:cubicBezTo>
                    <a:cubicBezTo>
                      <a:pt x="19742" y="12888"/>
                      <a:pt x="19339" y="10874"/>
                      <a:pt x="18130" y="9666"/>
                    </a:cubicBezTo>
                    <a:cubicBezTo>
                      <a:pt x="14101" y="6041"/>
                      <a:pt x="9670" y="2819"/>
                      <a:pt x="4835" y="403"/>
                    </a:cubicBezTo>
                    <a:cubicBezTo>
                      <a:pt x="3223" y="-403"/>
                      <a:pt x="1612" y="0"/>
                      <a:pt x="403" y="1611"/>
                    </a:cubicBezTo>
                    <a:cubicBezTo>
                      <a:pt x="-403" y="3222"/>
                      <a:pt x="0" y="4833"/>
                      <a:pt x="1612" y="6041"/>
                    </a:cubicBezTo>
                    <a:cubicBezTo>
                      <a:pt x="6043" y="8458"/>
                      <a:pt x="10072" y="11680"/>
                      <a:pt x="13698" y="14902"/>
                    </a:cubicBezTo>
                    <a:cubicBezTo>
                      <a:pt x="14907" y="15304"/>
                      <a:pt x="16519" y="15707"/>
                      <a:pt x="17727" y="14902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65" name="Forme libre 464">
                <a:extLst>
                  <a:ext uri="{FF2B5EF4-FFF2-40B4-BE49-F238E27FC236}">
                    <a16:creationId xmlns:a16="http://schemas.microsoft.com/office/drawing/2014/main" id="{E5C38150-8482-2445-BDAA-5C6F163A4CD0}"/>
                  </a:ext>
                </a:extLst>
              </p:cNvPr>
              <p:cNvSpPr/>
              <p:nvPr/>
            </p:nvSpPr>
            <p:spPr>
              <a:xfrm>
                <a:off x="2393885" y="2884634"/>
                <a:ext cx="173650" cy="334173"/>
              </a:xfrm>
              <a:custGeom>
                <a:avLst/>
                <a:gdLst>
                  <a:gd name="connsiteX0" fmla="*/ 89895 w 173650"/>
                  <a:gd name="connsiteY0" fmla="*/ 332563 h 334173"/>
                  <a:gd name="connsiteX1" fmla="*/ 91103 w 173650"/>
                  <a:gd name="connsiteY1" fmla="*/ 328133 h 334173"/>
                  <a:gd name="connsiteX2" fmla="*/ 114069 w 173650"/>
                  <a:gd name="connsiteY2" fmla="*/ 308398 h 334173"/>
                  <a:gd name="connsiteX3" fmla="*/ 118500 w 173650"/>
                  <a:gd name="connsiteY3" fmla="*/ 307996 h 334173"/>
                  <a:gd name="connsiteX4" fmla="*/ 118903 w 173650"/>
                  <a:gd name="connsiteY4" fmla="*/ 312426 h 334173"/>
                  <a:gd name="connsiteX5" fmla="*/ 94327 w 173650"/>
                  <a:gd name="connsiteY5" fmla="*/ 333771 h 334173"/>
                  <a:gd name="connsiteX6" fmla="*/ 94327 w 173650"/>
                  <a:gd name="connsiteY6" fmla="*/ 333771 h 334173"/>
                  <a:gd name="connsiteX7" fmla="*/ 89895 w 173650"/>
                  <a:gd name="connsiteY7" fmla="*/ 332563 h 334173"/>
                  <a:gd name="connsiteX8" fmla="*/ 125350 w 173650"/>
                  <a:gd name="connsiteY8" fmla="*/ 297524 h 334173"/>
                  <a:gd name="connsiteX9" fmla="*/ 124141 w 173650"/>
                  <a:gd name="connsiteY9" fmla="*/ 293094 h 334173"/>
                  <a:gd name="connsiteX10" fmla="*/ 135422 w 173650"/>
                  <a:gd name="connsiteY10" fmla="*/ 264902 h 334173"/>
                  <a:gd name="connsiteX11" fmla="*/ 139048 w 173650"/>
                  <a:gd name="connsiteY11" fmla="*/ 262486 h 334173"/>
                  <a:gd name="connsiteX12" fmla="*/ 141465 w 173650"/>
                  <a:gd name="connsiteY12" fmla="*/ 266110 h 334173"/>
                  <a:gd name="connsiteX13" fmla="*/ 129379 w 173650"/>
                  <a:gd name="connsiteY13" fmla="*/ 295913 h 334173"/>
                  <a:gd name="connsiteX14" fmla="*/ 128170 w 173650"/>
                  <a:gd name="connsiteY14" fmla="*/ 297122 h 334173"/>
                  <a:gd name="connsiteX15" fmla="*/ 125350 w 173650"/>
                  <a:gd name="connsiteY15" fmla="*/ 297524 h 334173"/>
                  <a:gd name="connsiteX16" fmla="*/ 141465 w 173650"/>
                  <a:gd name="connsiteY16" fmla="*/ 250403 h 334173"/>
                  <a:gd name="connsiteX17" fmla="*/ 138645 w 173650"/>
                  <a:gd name="connsiteY17" fmla="*/ 247181 h 334173"/>
                  <a:gd name="connsiteX18" fmla="*/ 138645 w 173650"/>
                  <a:gd name="connsiteY18" fmla="*/ 245973 h 334173"/>
                  <a:gd name="connsiteX19" fmla="*/ 137033 w 173650"/>
                  <a:gd name="connsiteY19" fmla="*/ 216573 h 334173"/>
                  <a:gd name="connsiteX20" fmla="*/ 139451 w 173650"/>
                  <a:gd name="connsiteY20" fmla="*/ 212948 h 334173"/>
                  <a:gd name="connsiteX21" fmla="*/ 143077 w 173650"/>
                  <a:gd name="connsiteY21" fmla="*/ 215365 h 334173"/>
                  <a:gd name="connsiteX22" fmla="*/ 144689 w 173650"/>
                  <a:gd name="connsiteY22" fmla="*/ 245973 h 334173"/>
                  <a:gd name="connsiteX23" fmla="*/ 144689 w 173650"/>
                  <a:gd name="connsiteY23" fmla="*/ 247584 h 334173"/>
                  <a:gd name="connsiteX24" fmla="*/ 143077 w 173650"/>
                  <a:gd name="connsiteY24" fmla="*/ 250001 h 334173"/>
                  <a:gd name="connsiteX25" fmla="*/ 141465 w 173650"/>
                  <a:gd name="connsiteY25" fmla="*/ 250403 h 334173"/>
                  <a:gd name="connsiteX26" fmla="*/ 137033 w 173650"/>
                  <a:gd name="connsiteY26" fmla="*/ 200463 h 334173"/>
                  <a:gd name="connsiteX27" fmla="*/ 133408 w 173650"/>
                  <a:gd name="connsiteY27" fmla="*/ 198449 h 334173"/>
                  <a:gd name="connsiteX28" fmla="*/ 123335 w 173650"/>
                  <a:gd name="connsiteY28" fmla="*/ 169049 h 334173"/>
                  <a:gd name="connsiteX29" fmla="*/ 124947 w 173650"/>
                  <a:gd name="connsiteY29" fmla="*/ 165022 h 334173"/>
                  <a:gd name="connsiteX30" fmla="*/ 128975 w 173650"/>
                  <a:gd name="connsiteY30" fmla="*/ 166633 h 334173"/>
                  <a:gd name="connsiteX31" fmla="*/ 139451 w 173650"/>
                  <a:gd name="connsiteY31" fmla="*/ 196838 h 334173"/>
                  <a:gd name="connsiteX32" fmla="*/ 137839 w 173650"/>
                  <a:gd name="connsiteY32" fmla="*/ 200463 h 334173"/>
                  <a:gd name="connsiteX33" fmla="*/ 137033 w 173650"/>
                  <a:gd name="connsiteY33" fmla="*/ 200463 h 334173"/>
                  <a:gd name="connsiteX34" fmla="*/ 119709 w 173650"/>
                  <a:gd name="connsiteY34" fmla="*/ 153342 h 334173"/>
                  <a:gd name="connsiteX35" fmla="*/ 115680 w 173650"/>
                  <a:gd name="connsiteY35" fmla="*/ 151731 h 334173"/>
                  <a:gd name="connsiteX36" fmla="*/ 114471 w 173650"/>
                  <a:gd name="connsiteY36" fmla="*/ 149315 h 334173"/>
                  <a:gd name="connsiteX37" fmla="*/ 104399 w 173650"/>
                  <a:gd name="connsiteY37" fmla="*/ 152537 h 334173"/>
                  <a:gd name="connsiteX38" fmla="*/ 100773 w 173650"/>
                  <a:gd name="connsiteY38" fmla="*/ 150523 h 334173"/>
                  <a:gd name="connsiteX39" fmla="*/ 102787 w 173650"/>
                  <a:gd name="connsiteY39" fmla="*/ 146496 h 334173"/>
                  <a:gd name="connsiteX40" fmla="*/ 111651 w 173650"/>
                  <a:gd name="connsiteY40" fmla="*/ 143676 h 334173"/>
                  <a:gd name="connsiteX41" fmla="*/ 100773 w 173650"/>
                  <a:gd name="connsiteY41" fmla="*/ 123942 h 334173"/>
                  <a:gd name="connsiteX42" fmla="*/ 101982 w 173650"/>
                  <a:gd name="connsiteY42" fmla="*/ 119512 h 334173"/>
                  <a:gd name="connsiteX43" fmla="*/ 106413 w 173650"/>
                  <a:gd name="connsiteY43" fmla="*/ 120720 h 334173"/>
                  <a:gd name="connsiteX44" fmla="*/ 117694 w 173650"/>
                  <a:gd name="connsiteY44" fmla="*/ 140857 h 334173"/>
                  <a:gd name="connsiteX45" fmla="*/ 130587 w 173650"/>
                  <a:gd name="connsiteY45" fmla="*/ 133608 h 334173"/>
                  <a:gd name="connsiteX46" fmla="*/ 135019 w 173650"/>
                  <a:gd name="connsiteY46" fmla="*/ 134413 h 334173"/>
                  <a:gd name="connsiteX47" fmla="*/ 134213 w 173650"/>
                  <a:gd name="connsiteY47" fmla="*/ 138843 h 334173"/>
                  <a:gd name="connsiteX48" fmla="*/ 120515 w 173650"/>
                  <a:gd name="connsiteY48" fmla="*/ 146496 h 334173"/>
                  <a:gd name="connsiteX49" fmla="*/ 121723 w 173650"/>
                  <a:gd name="connsiteY49" fmla="*/ 148509 h 334173"/>
                  <a:gd name="connsiteX50" fmla="*/ 119709 w 173650"/>
                  <a:gd name="connsiteY50" fmla="*/ 153342 h 334173"/>
                  <a:gd name="connsiteX51" fmla="*/ 119709 w 173650"/>
                  <a:gd name="connsiteY51" fmla="*/ 153342 h 334173"/>
                  <a:gd name="connsiteX52" fmla="*/ 144286 w 173650"/>
                  <a:gd name="connsiteY52" fmla="*/ 127164 h 334173"/>
                  <a:gd name="connsiteX53" fmla="*/ 144286 w 173650"/>
                  <a:gd name="connsiteY53" fmla="*/ 122734 h 334173"/>
                  <a:gd name="connsiteX54" fmla="*/ 155567 w 173650"/>
                  <a:gd name="connsiteY54" fmla="*/ 107832 h 334173"/>
                  <a:gd name="connsiteX55" fmla="*/ 160804 w 173650"/>
                  <a:gd name="connsiteY55" fmla="*/ 97361 h 334173"/>
                  <a:gd name="connsiteX56" fmla="*/ 164833 w 173650"/>
                  <a:gd name="connsiteY56" fmla="*/ 95750 h 334173"/>
                  <a:gd name="connsiteX57" fmla="*/ 166445 w 173650"/>
                  <a:gd name="connsiteY57" fmla="*/ 99777 h 334173"/>
                  <a:gd name="connsiteX58" fmla="*/ 160804 w 173650"/>
                  <a:gd name="connsiteY58" fmla="*/ 111054 h 334173"/>
                  <a:gd name="connsiteX59" fmla="*/ 148717 w 173650"/>
                  <a:gd name="connsiteY59" fmla="*/ 127164 h 334173"/>
                  <a:gd name="connsiteX60" fmla="*/ 147912 w 173650"/>
                  <a:gd name="connsiteY60" fmla="*/ 127969 h 334173"/>
                  <a:gd name="connsiteX61" fmla="*/ 144286 w 173650"/>
                  <a:gd name="connsiteY61" fmla="*/ 127164 h 334173"/>
                  <a:gd name="connsiteX62" fmla="*/ 85060 w 173650"/>
                  <a:gd name="connsiteY62" fmla="*/ 156564 h 334173"/>
                  <a:gd name="connsiteX63" fmla="*/ 52828 w 173650"/>
                  <a:gd name="connsiteY63" fmla="*/ 154148 h 334173"/>
                  <a:gd name="connsiteX64" fmla="*/ 50411 w 173650"/>
                  <a:gd name="connsiteY64" fmla="*/ 150523 h 334173"/>
                  <a:gd name="connsiteX65" fmla="*/ 54037 w 173650"/>
                  <a:gd name="connsiteY65" fmla="*/ 148107 h 334173"/>
                  <a:gd name="connsiteX66" fmla="*/ 84254 w 173650"/>
                  <a:gd name="connsiteY66" fmla="*/ 150523 h 334173"/>
                  <a:gd name="connsiteX67" fmla="*/ 87477 w 173650"/>
                  <a:gd name="connsiteY67" fmla="*/ 153342 h 334173"/>
                  <a:gd name="connsiteX68" fmla="*/ 85866 w 173650"/>
                  <a:gd name="connsiteY68" fmla="*/ 156564 h 334173"/>
                  <a:gd name="connsiteX69" fmla="*/ 85060 w 173650"/>
                  <a:gd name="connsiteY69" fmla="*/ 156564 h 334173"/>
                  <a:gd name="connsiteX70" fmla="*/ 168056 w 173650"/>
                  <a:gd name="connsiteY70" fmla="*/ 83668 h 334173"/>
                  <a:gd name="connsiteX71" fmla="*/ 165639 w 173650"/>
                  <a:gd name="connsiteY71" fmla="*/ 80043 h 334173"/>
                  <a:gd name="connsiteX72" fmla="*/ 166042 w 173650"/>
                  <a:gd name="connsiteY72" fmla="*/ 49837 h 334173"/>
                  <a:gd name="connsiteX73" fmla="*/ 168862 w 173650"/>
                  <a:gd name="connsiteY73" fmla="*/ 46213 h 334173"/>
                  <a:gd name="connsiteX74" fmla="*/ 172488 w 173650"/>
                  <a:gd name="connsiteY74" fmla="*/ 48629 h 334173"/>
                  <a:gd name="connsiteX75" fmla="*/ 172085 w 173650"/>
                  <a:gd name="connsiteY75" fmla="*/ 80848 h 334173"/>
                  <a:gd name="connsiteX76" fmla="*/ 170474 w 173650"/>
                  <a:gd name="connsiteY76" fmla="*/ 83265 h 334173"/>
                  <a:gd name="connsiteX77" fmla="*/ 168056 w 173650"/>
                  <a:gd name="connsiteY77" fmla="*/ 83668 h 334173"/>
                  <a:gd name="connsiteX78" fmla="*/ 34295 w 173650"/>
                  <a:gd name="connsiteY78" fmla="*/ 146898 h 334173"/>
                  <a:gd name="connsiteX79" fmla="*/ 27043 w 173650"/>
                  <a:gd name="connsiteY79" fmla="*/ 142871 h 334173"/>
                  <a:gd name="connsiteX80" fmla="*/ 9316 w 173650"/>
                  <a:gd name="connsiteY80" fmla="*/ 125956 h 334173"/>
                  <a:gd name="connsiteX81" fmla="*/ 10121 w 173650"/>
                  <a:gd name="connsiteY81" fmla="*/ 121526 h 334173"/>
                  <a:gd name="connsiteX82" fmla="*/ 14553 w 173650"/>
                  <a:gd name="connsiteY82" fmla="*/ 122331 h 334173"/>
                  <a:gd name="connsiteX83" fmla="*/ 30669 w 173650"/>
                  <a:gd name="connsiteY83" fmla="*/ 137635 h 334173"/>
                  <a:gd name="connsiteX84" fmla="*/ 37518 w 173650"/>
                  <a:gd name="connsiteY84" fmla="*/ 141663 h 334173"/>
                  <a:gd name="connsiteX85" fmla="*/ 38727 w 173650"/>
                  <a:gd name="connsiteY85" fmla="*/ 145690 h 334173"/>
                  <a:gd name="connsiteX86" fmla="*/ 37518 w 173650"/>
                  <a:gd name="connsiteY86" fmla="*/ 146898 h 334173"/>
                  <a:gd name="connsiteX87" fmla="*/ 34295 w 173650"/>
                  <a:gd name="connsiteY87" fmla="*/ 146898 h 334173"/>
                  <a:gd name="connsiteX88" fmla="*/ 90700 w 173650"/>
                  <a:gd name="connsiteY88" fmla="*/ 108638 h 334173"/>
                  <a:gd name="connsiteX89" fmla="*/ 71361 w 173650"/>
                  <a:gd name="connsiteY89" fmla="*/ 84876 h 334173"/>
                  <a:gd name="connsiteX90" fmla="*/ 70959 w 173650"/>
                  <a:gd name="connsiteY90" fmla="*/ 80446 h 334173"/>
                  <a:gd name="connsiteX91" fmla="*/ 75390 w 173650"/>
                  <a:gd name="connsiteY91" fmla="*/ 80043 h 334173"/>
                  <a:gd name="connsiteX92" fmla="*/ 95535 w 173650"/>
                  <a:gd name="connsiteY92" fmla="*/ 105013 h 334173"/>
                  <a:gd name="connsiteX93" fmla="*/ 94729 w 173650"/>
                  <a:gd name="connsiteY93" fmla="*/ 109443 h 334173"/>
                  <a:gd name="connsiteX94" fmla="*/ 94327 w 173650"/>
                  <a:gd name="connsiteY94" fmla="*/ 109443 h 334173"/>
                  <a:gd name="connsiteX95" fmla="*/ 90700 w 173650"/>
                  <a:gd name="connsiteY95" fmla="*/ 108638 h 334173"/>
                  <a:gd name="connsiteX96" fmla="*/ 165639 w 173650"/>
                  <a:gd name="connsiteY96" fmla="*/ 34130 h 334173"/>
                  <a:gd name="connsiteX97" fmla="*/ 161610 w 173650"/>
                  <a:gd name="connsiteY97" fmla="*/ 32117 h 334173"/>
                  <a:gd name="connsiteX98" fmla="*/ 156373 w 173650"/>
                  <a:gd name="connsiteY98" fmla="*/ 19229 h 334173"/>
                  <a:gd name="connsiteX99" fmla="*/ 147509 w 173650"/>
                  <a:gd name="connsiteY99" fmla="*/ 5133 h 334173"/>
                  <a:gd name="connsiteX100" fmla="*/ 148315 w 173650"/>
                  <a:gd name="connsiteY100" fmla="*/ 703 h 334173"/>
                  <a:gd name="connsiteX101" fmla="*/ 152746 w 173650"/>
                  <a:gd name="connsiteY101" fmla="*/ 1508 h 334173"/>
                  <a:gd name="connsiteX102" fmla="*/ 162013 w 173650"/>
                  <a:gd name="connsiteY102" fmla="*/ 16410 h 334173"/>
                  <a:gd name="connsiteX103" fmla="*/ 167654 w 173650"/>
                  <a:gd name="connsiteY103" fmla="*/ 30103 h 334173"/>
                  <a:gd name="connsiteX104" fmla="*/ 165639 w 173650"/>
                  <a:gd name="connsiteY104" fmla="*/ 34130 h 334173"/>
                  <a:gd name="connsiteX105" fmla="*/ 165639 w 173650"/>
                  <a:gd name="connsiteY105" fmla="*/ 34130 h 334173"/>
                  <a:gd name="connsiteX106" fmla="*/ 4884 w 173650"/>
                  <a:gd name="connsiteY106" fmla="*/ 110249 h 334173"/>
                  <a:gd name="connsiteX107" fmla="*/ 1258 w 173650"/>
                  <a:gd name="connsiteY107" fmla="*/ 107832 h 334173"/>
                  <a:gd name="connsiteX108" fmla="*/ 3675 w 173650"/>
                  <a:gd name="connsiteY108" fmla="*/ 82862 h 334173"/>
                  <a:gd name="connsiteX109" fmla="*/ 8913 w 173650"/>
                  <a:gd name="connsiteY109" fmla="*/ 75613 h 334173"/>
                  <a:gd name="connsiteX110" fmla="*/ 13345 w 173650"/>
                  <a:gd name="connsiteY110" fmla="*/ 75613 h 334173"/>
                  <a:gd name="connsiteX111" fmla="*/ 13345 w 173650"/>
                  <a:gd name="connsiteY111" fmla="*/ 80043 h 334173"/>
                  <a:gd name="connsiteX112" fmla="*/ 8913 w 173650"/>
                  <a:gd name="connsiteY112" fmla="*/ 86084 h 334173"/>
                  <a:gd name="connsiteX113" fmla="*/ 6898 w 173650"/>
                  <a:gd name="connsiteY113" fmla="*/ 106624 h 334173"/>
                  <a:gd name="connsiteX114" fmla="*/ 5287 w 173650"/>
                  <a:gd name="connsiteY114" fmla="*/ 110249 h 334173"/>
                  <a:gd name="connsiteX115" fmla="*/ 4884 w 173650"/>
                  <a:gd name="connsiteY115" fmla="*/ 110249 h 334173"/>
                  <a:gd name="connsiteX116" fmla="*/ 56857 w 173650"/>
                  <a:gd name="connsiteY116" fmla="*/ 74807 h 334173"/>
                  <a:gd name="connsiteX117" fmla="*/ 28252 w 173650"/>
                  <a:gd name="connsiteY117" fmla="*/ 71988 h 334173"/>
                  <a:gd name="connsiteX118" fmla="*/ 24626 w 173650"/>
                  <a:gd name="connsiteY118" fmla="*/ 69572 h 334173"/>
                  <a:gd name="connsiteX119" fmla="*/ 27043 w 173650"/>
                  <a:gd name="connsiteY119" fmla="*/ 65947 h 334173"/>
                  <a:gd name="connsiteX120" fmla="*/ 59678 w 173650"/>
                  <a:gd name="connsiteY120" fmla="*/ 69169 h 334173"/>
                  <a:gd name="connsiteX121" fmla="*/ 61289 w 173650"/>
                  <a:gd name="connsiteY121" fmla="*/ 73196 h 334173"/>
                  <a:gd name="connsiteX122" fmla="*/ 60080 w 173650"/>
                  <a:gd name="connsiteY122" fmla="*/ 74807 h 334173"/>
                  <a:gd name="connsiteX123" fmla="*/ 56857 w 173650"/>
                  <a:gd name="connsiteY123" fmla="*/ 74807 h 334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173650" h="334173">
                    <a:moveTo>
                      <a:pt x="89895" y="332563"/>
                    </a:moveTo>
                    <a:cubicBezTo>
                      <a:pt x="89089" y="330952"/>
                      <a:pt x="89492" y="329341"/>
                      <a:pt x="91103" y="328133"/>
                    </a:cubicBezTo>
                    <a:cubicBezTo>
                      <a:pt x="99564" y="323300"/>
                      <a:pt x="107219" y="316453"/>
                      <a:pt x="114069" y="308398"/>
                    </a:cubicBezTo>
                    <a:cubicBezTo>
                      <a:pt x="115277" y="307190"/>
                      <a:pt x="117292" y="306787"/>
                      <a:pt x="118500" y="307996"/>
                    </a:cubicBezTo>
                    <a:cubicBezTo>
                      <a:pt x="119709" y="309204"/>
                      <a:pt x="120112" y="311218"/>
                      <a:pt x="118903" y="312426"/>
                    </a:cubicBezTo>
                    <a:cubicBezTo>
                      <a:pt x="111651" y="321286"/>
                      <a:pt x="103593" y="328133"/>
                      <a:pt x="94327" y="333771"/>
                    </a:cubicBezTo>
                    <a:cubicBezTo>
                      <a:pt x="94327" y="333771"/>
                      <a:pt x="94327" y="333771"/>
                      <a:pt x="94327" y="333771"/>
                    </a:cubicBezTo>
                    <a:cubicBezTo>
                      <a:pt x="92715" y="334577"/>
                      <a:pt x="90700" y="334174"/>
                      <a:pt x="89895" y="332563"/>
                    </a:cubicBezTo>
                    <a:moveTo>
                      <a:pt x="125350" y="297524"/>
                    </a:moveTo>
                    <a:cubicBezTo>
                      <a:pt x="123738" y="296719"/>
                      <a:pt x="123335" y="294705"/>
                      <a:pt x="124141" y="293094"/>
                    </a:cubicBezTo>
                    <a:cubicBezTo>
                      <a:pt x="129379" y="284234"/>
                      <a:pt x="133004" y="274568"/>
                      <a:pt x="135422" y="264902"/>
                    </a:cubicBezTo>
                    <a:cubicBezTo>
                      <a:pt x="135825" y="263291"/>
                      <a:pt x="137436" y="262083"/>
                      <a:pt x="139048" y="262486"/>
                    </a:cubicBezTo>
                    <a:cubicBezTo>
                      <a:pt x="140660" y="262888"/>
                      <a:pt x="141868" y="264499"/>
                      <a:pt x="141465" y="266110"/>
                    </a:cubicBezTo>
                    <a:cubicBezTo>
                      <a:pt x="139048" y="276582"/>
                      <a:pt x="135019" y="286650"/>
                      <a:pt x="129379" y="295913"/>
                    </a:cubicBezTo>
                    <a:cubicBezTo>
                      <a:pt x="128975" y="296316"/>
                      <a:pt x="128573" y="296719"/>
                      <a:pt x="128170" y="297122"/>
                    </a:cubicBezTo>
                    <a:cubicBezTo>
                      <a:pt x="127364" y="298330"/>
                      <a:pt x="126558" y="298330"/>
                      <a:pt x="125350" y="297524"/>
                    </a:cubicBezTo>
                    <a:moveTo>
                      <a:pt x="141465" y="250403"/>
                    </a:moveTo>
                    <a:cubicBezTo>
                      <a:pt x="139854" y="250403"/>
                      <a:pt x="138645" y="248792"/>
                      <a:pt x="138645" y="247181"/>
                    </a:cubicBezTo>
                    <a:lnTo>
                      <a:pt x="138645" y="245973"/>
                    </a:lnTo>
                    <a:cubicBezTo>
                      <a:pt x="139048" y="236710"/>
                      <a:pt x="138645" y="226641"/>
                      <a:pt x="137033" y="216573"/>
                    </a:cubicBezTo>
                    <a:cubicBezTo>
                      <a:pt x="136631" y="214962"/>
                      <a:pt x="137839" y="213351"/>
                      <a:pt x="139451" y="212948"/>
                    </a:cubicBezTo>
                    <a:cubicBezTo>
                      <a:pt x="141062" y="212545"/>
                      <a:pt x="142674" y="213754"/>
                      <a:pt x="143077" y="215365"/>
                    </a:cubicBezTo>
                    <a:cubicBezTo>
                      <a:pt x="144689" y="225836"/>
                      <a:pt x="145091" y="235905"/>
                      <a:pt x="144689" y="245973"/>
                    </a:cubicBezTo>
                    <a:lnTo>
                      <a:pt x="144689" y="247584"/>
                    </a:lnTo>
                    <a:cubicBezTo>
                      <a:pt x="144689" y="248792"/>
                      <a:pt x="143883" y="249598"/>
                      <a:pt x="143077" y="250001"/>
                    </a:cubicBezTo>
                    <a:cubicBezTo>
                      <a:pt x="142674" y="250403"/>
                      <a:pt x="141868" y="250403"/>
                      <a:pt x="141465" y="250403"/>
                    </a:cubicBezTo>
                    <a:moveTo>
                      <a:pt x="137033" y="200463"/>
                    </a:moveTo>
                    <a:cubicBezTo>
                      <a:pt x="135422" y="200866"/>
                      <a:pt x="133810" y="200061"/>
                      <a:pt x="133408" y="198449"/>
                    </a:cubicBezTo>
                    <a:cubicBezTo>
                      <a:pt x="130990" y="189186"/>
                      <a:pt x="127364" y="179118"/>
                      <a:pt x="123335" y="169049"/>
                    </a:cubicBezTo>
                    <a:cubicBezTo>
                      <a:pt x="122529" y="167438"/>
                      <a:pt x="123335" y="165425"/>
                      <a:pt x="124947" y="165022"/>
                    </a:cubicBezTo>
                    <a:cubicBezTo>
                      <a:pt x="126558" y="164216"/>
                      <a:pt x="128170" y="165022"/>
                      <a:pt x="128975" y="166633"/>
                    </a:cubicBezTo>
                    <a:cubicBezTo>
                      <a:pt x="133408" y="177104"/>
                      <a:pt x="136631" y="187173"/>
                      <a:pt x="139451" y="196838"/>
                    </a:cubicBezTo>
                    <a:cubicBezTo>
                      <a:pt x="139854" y="198449"/>
                      <a:pt x="139048" y="199658"/>
                      <a:pt x="137839" y="200463"/>
                    </a:cubicBezTo>
                    <a:cubicBezTo>
                      <a:pt x="137436" y="200463"/>
                      <a:pt x="137436" y="200463"/>
                      <a:pt x="137033" y="200463"/>
                    </a:cubicBezTo>
                    <a:moveTo>
                      <a:pt x="119709" y="153342"/>
                    </a:moveTo>
                    <a:cubicBezTo>
                      <a:pt x="118098" y="154148"/>
                      <a:pt x="116486" y="153342"/>
                      <a:pt x="115680" y="151731"/>
                    </a:cubicBezTo>
                    <a:cubicBezTo>
                      <a:pt x="115277" y="150926"/>
                      <a:pt x="114874" y="150120"/>
                      <a:pt x="114471" y="149315"/>
                    </a:cubicBezTo>
                    <a:cubicBezTo>
                      <a:pt x="111248" y="150523"/>
                      <a:pt x="107622" y="151731"/>
                      <a:pt x="104399" y="152537"/>
                    </a:cubicBezTo>
                    <a:cubicBezTo>
                      <a:pt x="102787" y="152940"/>
                      <a:pt x="101176" y="152134"/>
                      <a:pt x="100773" y="150523"/>
                    </a:cubicBezTo>
                    <a:cubicBezTo>
                      <a:pt x="100370" y="148912"/>
                      <a:pt x="101176" y="147301"/>
                      <a:pt x="102787" y="146496"/>
                    </a:cubicBezTo>
                    <a:cubicBezTo>
                      <a:pt x="105608" y="145690"/>
                      <a:pt x="108831" y="144482"/>
                      <a:pt x="111651" y="143676"/>
                    </a:cubicBezTo>
                    <a:cubicBezTo>
                      <a:pt x="108428" y="137635"/>
                      <a:pt x="104802" y="131191"/>
                      <a:pt x="100773" y="123942"/>
                    </a:cubicBezTo>
                    <a:cubicBezTo>
                      <a:pt x="99967" y="122331"/>
                      <a:pt x="100370" y="120720"/>
                      <a:pt x="101982" y="119512"/>
                    </a:cubicBezTo>
                    <a:cubicBezTo>
                      <a:pt x="103593" y="118706"/>
                      <a:pt x="105205" y="119109"/>
                      <a:pt x="106413" y="120720"/>
                    </a:cubicBezTo>
                    <a:cubicBezTo>
                      <a:pt x="110442" y="127969"/>
                      <a:pt x="114471" y="134413"/>
                      <a:pt x="117694" y="140857"/>
                    </a:cubicBezTo>
                    <a:cubicBezTo>
                      <a:pt x="122126" y="138843"/>
                      <a:pt x="126558" y="136427"/>
                      <a:pt x="130587" y="133608"/>
                    </a:cubicBezTo>
                    <a:cubicBezTo>
                      <a:pt x="132199" y="132802"/>
                      <a:pt x="133810" y="133205"/>
                      <a:pt x="135019" y="134413"/>
                    </a:cubicBezTo>
                    <a:cubicBezTo>
                      <a:pt x="135825" y="136024"/>
                      <a:pt x="135422" y="137635"/>
                      <a:pt x="134213" y="138843"/>
                    </a:cubicBezTo>
                    <a:cubicBezTo>
                      <a:pt x="129781" y="141663"/>
                      <a:pt x="125350" y="144079"/>
                      <a:pt x="120515" y="146496"/>
                    </a:cubicBezTo>
                    <a:cubicBezTo>
                      <a:pt x="120918" y="147301"/>
                      <a:pt x="121321" y="147704"/>
                      <a:pt x="121723" y="148509"/>
                    </a:cubicBezTo>
                    <a:cubicBezTo>
                      <a:pt x="121723" y="150926"/>
                      <a:pt x="120918" y="152537"/>
                      <a:pt x="119709" y="153342"/>
                    </a:cubicBezTo>
                    <a:cubicBezTo>
                      <a:pt x="119709" y="153342"/>
                      <a:pt x="119709" y="153342"/>
                      <a:pt x="119709" y="153342"/>
                    </a:cubicBezTo>
                    <a:moveTo>
                      <a:pt x="144286" y="127164"/>
                    </a:moveTo>
                    <a:cubicBezTo>
                      <a:pt x="143077" y="125956"/>
                      <a:pt x="143077" y="123942"/>
                      <a:pt x="144286" y="122734"/>
                    </a:cubicBezTo>
                    <a:cubicBezTo>
                      <a:pt x="148717" y="118304"/>
                      <a:pt x="152344" y="113068"/>
                      <a:pt x="155567" y="107832"/>
                    </a:cubicBezTo>
                    <a:cubicBezTo>
                      <a:pt x="157581" y="104610"/>
                      <a:pt x="159193" y="100986"/>
                      <a:pt x="160804" y="97361"/>
                    </a:cubicBezTo>
                    <a:cubicBezTo>
                      <a:pt x="161610" y="95750"/>
                      <a:pt x="163222" y="94944"/>
                      <a:pt x="164833" y="95750"/>
                    </a:cubicBezTo>
                    <a:cubicBezTo>
                      <a:pt x="166445" y="96555"/>
                      <a:pt x="167251" y="98166"/>
                      <a:pt x="166445" y="99777"/>
                    </a:cubicBezTo>
                    <a:cubicBezTo>
                      <a:pt x="164833" y="103805"/>
                      <a:pt x="162819" y="107430"/>
                      <a:pt x="160804" y="111054"/>
                    </a:cubicBezTo>
                    <a:cubicBezTo>
                      <a:pt x="157581" y="116693"/>
                      <a:pt x="153149" y="121928"/>
                      <a:pt x="148717" y="127164"/>
                    </a:cubicBezTo>
                    <a:cubicBezTo>
                      <a:pt x="148315" y="127567"/>
                      <a:pt x="148315" y="127567"/>
                      <a:pt x="147912" y="127969"/>
                    </a:cubicBezTo>
                    <a:cubicBezTo>
                      <a:pt x="146703" y="128372"/>
                      <a:pt x="145091" y="127969"/>
                      <a:pt x="144286" y="127164"/>
                    </a:cubicBezTo>
                    <a:moveTo>
                      <a:pt x="85060" y="156564"/>
                    </a:moveTo>
                    <a:cubicBezTo>
                      <a:pt x="74182" y="157370"/>
                      <a:pt x="63304" y="156564"/>
                      <a:pt x="52828" y="154148"/>
                    </a:cubicBezTo>
                    <a:cubicBezTo>
                      <a:pt x="51217" y="153745"/>
                      <a:pt x="50008" y="152134"/>
                      <a:pt x="50411" y="150523"/>
                    </a:cubicBezTo>
                    <a:cubicBezTo>
                      <a:pt x="50814" y="148912"/>
                      <a:pt x="52425" y="147704"/>
                      <a:pt x="54037" y="148107"/>
                    </a:cubicBezTo>
                    <a:cubicBezTo>
                      <a:pt x="63707" y="150523"/>
                      <a:pt x="73779" y="151329"/>
                      <a:pt x="84254" y="150523"/>
                    </a:cubicBezTo>
                    <a:cubicBezTo>
                      <a:pt x="85866" y="150523"/>
                      <a:pt x="87477" y="151731"/>
                      <a:pt x="87477" y="153342"/>
                    </a:cubicBezTo>
                    <a:cubicBezTo>
                      <a:pt x="87477" y="154550"/>
                      <a:pt x="87075" y="155759"/>
                      <a:pt x="85866" y="156564"/>
                    </a:cubicBezTo>
                    <a:cubicBezTo>
                      <a:pt x="85866" y="156161"/>
                      <a:pt x="85463" y="156564"/>
                      <a:pt x="85060" y="156564"/>
                    </a:cubicBezTo>
                    <a:moveTo>
                      <a:pt x="168056" y="83668"/>
                    </a:moveTo>
                    <a:cubicBezTo>
                      <a:pt x="166445" y="83265"/>
                      <a:pt x="165236" y="81654"/>
                      <a:pt x="165639" y="80043"/>
                    </a:cubicBezTo>
                    <a:cubicBezTo>
                      <a:pt x="167251" y="70377"/>
                      <a:pt x="167654" y="59906"/>
                      <a:pt x="166042" y="49837"/>
                    </a:cubicBezTo>
                    <a:cubicBezTo>
                      <a:pt x="165639" y="48226"/>
                      <a:pt x="166848" y="46615"/>
                      <a:pt x="168862" y="46213"/>
                    </a:cubicBezTo>
                    <a:cubicBezTo>
                      <a:pt x="170474" y="45810"/>
                      <a:pt x="172085" y="47018"/>
                      <a:pt x="172488" y="48629"/>
                    </a:cubicBezTo>
                    <a:cubicBezTo>
                      <a:pt x="174100" y="59503"/>
                      <a:pt x="174100" y="70377"/>
                      <a:pt x="172085" y="80848"/>
                    </a:cubicBezTo>
                    <a:cubicBezTo>
                      <a:pt x="172085" y="82057"/>
                      <a:pt x="171280" y="82862"/>
                      <a:pt x="170474" y="83265"/>
                    </a:cubicBezTo>
                    <a:cubicBezTo>
                      <a:pt x="169668" y="83668"/>
                      <a:pt x="168862" y="84070"/>
                      <a:pt x="168056" y="83668"/>
                    </a:cubicBezTo>
                    <a:moveTo>
                      <a:pt x="34295" y="146898"/>
                    </a:moveTo>
                    <a:cubicBezTo>
                      <a:pt x="31878" y="145690"/>
                      <a:pt x="29460" y="144079"/>
                      <a:pt x="27043" y="142871"/>
                    </a:cubicBezTo>
                    <a:cubicBezTo>
                      <a:pt x="20194" y="138441"/>
                      <a:pt x="14150" y="132802"/>
                      <a:pt x="9316" y="125956"/>
                    </a:cubicBezTo>
                    <a:cubicBezTo>
                      <a:pt x="8510" y="124747"/>
                      <a:pt x="8510" y="122734"/>
                      <a:pt x="10121" y="121526"/>
                    </a:cubicBezTo>
                    <a:cubicBezTo>
                      <a:pt x="11330" y="120720"/>
                      <a:pt x="13345" y="120720"/>
                      <a:pt x="14553" y="122331"/>
                    </a:cubicBezTo>
                    <a:cubicBezTo>
                      <a:pt x="18985" y="128372"/>
                      <a:pt x="24223" y="133608"/>
                      <a:pt x="30669" y="137635"/>
                    </a:cubicBezTo>
                    <a:cubicBezTo>
                      <a:pt x="32684" y="138843"/>
                      <a:pt x="35101" y="140454"/>
                      <a:pt x="37518" y="141663"/>
                    </a:cubicBezTo>
                    <a:cubicBezTo>
                      <a:pt x="39130" y="142468"/>
                      <a:pt x="39533" y="144482"/>
                      <a:pt x="38727" y="145690"/>
                    </a:cubicBezTo>
                    <a:cubicBezTo>
                      <a:pt x="38324" y="146496"/>
                      <a:pt x="37921" y="146898"/>
                      <a:pt x="37518" y="146898"/>
                    </a:cubicBezTo>
                    <a:cubicBezTo>
                      <a:pt x="36310" y="147301"/>
                      <a:pt x="35504" y="147704"/>
                      <a:pt x="34295" y="146898"/>
                    </a:cubicBezTo>
                    <a:moveTo>
                      <a:pt x="90700" y="108638"/>
                    </a:moveTo>
                    <a:cubicBezTo>
                      <a:pt x="83851" y="98166"/>
                      <a:pt x="77808" y="90514"/>
                      <a:pt x="71361" y="84876"/>
                    </a:cubicBezTo>
                    <a:cubicBezTo>
                      <a:pt x="70153" y="83668"/>
                      <a:pt x="70153" y="81654"/>
                      <a:pt x="70959" y="80446"/>
                    </a:cubicBezTo>
                    <a:cubicBezTo>
                      <a:pt x="72167" y="79238"/>
                      <a:pt x="74182" y="79238"/>
                      <a:pt x="75390" y="80043"/>
                    </a:cubicBezTo>
                    <a:cubicBezTo>
                      <a:pt x="82240" y="86084"/>
                      <a:pt x="88686" y="94139"/>
                      <a:pt x="95535" y="105013"/>
                    </a:cubicBezTo>
                    <a:cubicBezTo>
                      <a:pt x="96341" y="106624"/>
                      <a:pt x="95938" y="108235"/>
                      <a:pt x="94729" y="109443"/>
                    </a:cubicBezTo>
                    <a:cubicBezTo>
                      <a:pt x="94729" y="109443"/>
                      <a:pt x="94729" y="109443"/>
                      <a:pt x="94327" y="109443"/>
                    </a:cubicBezTo>
                    <a:cubicBezTo>
                      <a:pt x="93521" y="110249"/>
                      <a:pt x="91506" y="109846"/>
                      <a:pt x="90700" y="108638"/>
                    </a:cubicBezTo>
                    <a:moveTo>
                      <a:pt x="165639" y="34130"/>
                    </a:moveTo>
                    <a:cubicBezTo>
                      <a:pt x="164027" y="34533"/>
                      <a:pt x="162416" y="33727"/>
                      <a:pt x="161610" y="32117"/>
                    </a:cubicBezTo>
                    <a:cubicBezTo>
                      <a:pt x="159999" y="27686"/>
                      <a:pt x="158387" y="23256"/>
                      <a:pt x="156373" y="19229"/>
                    </a:cubicBezTo>
                    <a:cubicBezTo>
                      <a:pt x="153955" y="14396"/>
                      <a:pt x="150732" y="9563"/>
                      <a:pt x="147509" y="5133"/>
                    </a:cubicBezTo>
                    <a:cubicBezTo>
                      <a:pt x="146300" y="3924"/>
                      <a:pt x="146703" y="1911"/>
                      <a:pt x="148315" y="703"/>
                    </a:cubicBezTo>
                    <a:cubicBezTo>
                      <a:pt x="149523" y="-506"/>
                      <a:pt x="151538" y="-103"/>
                      <a:pt x="152746" y="1508"/>
                    </a:cubicBezTo>
                    <a:cubicBezTo>
                      <a:pt x="156373" y="6341"/>
                      <a:pt x="159193" y="11174"/>
                      <a:pt x="162013" y="16410"/>
                    </a:cubicBezTo>
                    <a:cubicBezTo>
                      <a:pt x="164431" y="20840"/>
                      <a:pt x="166042" y="25270"/>
                      <a:pt x="167654" y="30103"/>
                    </a:cubicBezTo>
                    <a:cubicBezTo>
                      <a:pt x="168056" y="31714"/>
                      <a:pt x="167251" y="33325"/>
                      <a:pt x="165639" y="34130"/>
                    </a:cubicBezTo>
                    <a:cubicBezTo>
                      <a:pt x="165639" y="34130"/>
                      <a:pt x="165639" y="34130"/>
                      <a:pt x="165639" y="34130"/>
                    </a:cubicBezTo>
                    <a:moveTo>
                      <a:pt x="4884" y="110249"/>
                    </a:moveTo>
                    <a:cubicBezTo>
                      <a:pt x="3272" y="110651"/>
                      <a:pt x="1661" y="109846"/>
                      <a:pt x="1258" y="107832"/>
                    </a:cubicBezTo>
                    <a:cubicBezTo>
                      <a:pt x="-1160" y="98972"/>
                      <a:pt x="49" y="90514"/>
                      <a:pt x="3675" y="82862"/>
                    </a:cubicBezTo>
                    <a:cubicBezTo>
                      <a:pt x="4884" y="80043"/>
                      <a:pt x="6898" y="77626"/>
                      <a:pt x="8913" y="75613"/>
                    </a:cubicBezTo>
                    <a:cubicBezTo>
                      <a:pt x="10121" y="74405"/>
                      <a:pt x="12136" y="74405"/>
                      <a:pt x="13345" y="75613"/>
                    </a:cubicBezTo>
                    <a:cubicBezTo>
                      <a:pt x="14553" y="76821"/>
                      <a:pt x="14553" y="78835"/>
                      <a:pt x="13345" y="80043"/>
                    </a:cubicBezTo>
                    <a:cubicBezTo>
                      <a:pt x="11733" y="81654"/>
                      <a:pt x="10121" y="83668"/>
                      <a:pt x="8913" y="86084"/>
                    </a:cubicBezTo>
                    <a:cubicBezTo>
                      <a:pt x="5690" y="92125"/>
                      <a:pt x="4884" y="98972"/>
                      <a:pt x="6898" y="106624"/>
                    </a:cubicBezTo>
                    <a:cubicBezTo>
                      <a:pt x="7301" y="108235"/>
                      <a:pt x="6495" y="109443"/>
                      <a:pt x="5287" y="110249"/>
                    </a:cubicBezTo>
                    <a:cubicBezTo>
                      <a:pt x="5287" y="110249"/>
                      <a:pt x="4884" y="110249"/>
                      <a:pt x="4884" y="110249"/>
                    </a:cubicBezTo>
                    <a:moveTo>
                      <a:pt x="56857" y="74807"/>
                    </a:moveTo>
                    <a:cubicBezTo>
                      <a:pt x="47994" y="70780"/>
                      <a:pt x="37518" y="69974"/>
                      <a:pt x="28252" y="71988"/>
                    </a:cubicBezTo>
                    <a:cubicBezTo>
                      <a:pt x="26640" y="72391"/>
                      <a:pt x="25028" y="71585"/>
                      <a:pt x="24626" y="69572"/>
                    </a:cubicBezTo>
                    <a:cubicBezTo>
                      <a:pt x="24223" y="67961"/>
                      <a:pt x="25028" y="66350"/>
                      <a:pt x="27043" y="65947"/>
                    </a:cubicBezTo>
                    <a:cubicBezTo>
                      <a:pt x="37921" y="63128"/>
                      <a:pt x="49605" y="64336"/>
                      <a:pt x="59678" y="69169"/>
                    </a:cubicBezTo>
                    <a:cubicBezTo>
                      <a:pt x="61289" y="69974"/>
                      <a:pt x="62095" y="71585"/>
                      <a:pt x="61289" y="73196"/>
                    </a:cubicBezTo>
                    <a:cubicBezTo>
                      <a:pt x="60886" y="74002"/>
                      <a:pt x="60483" y="74405"/>
                      <a:pt x="60080" y="74807"/>
                    </a:cubicBezTo>
                    <a:cubicBezTo>
                      <a:pt x="58872" y="75210"/>
                      <a:pt x="57663" y="75210"/>
                      <a:pt x="56857" y="74807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66" name="Forme libre 465">
                <a:extLst>
                  <a:ext uri="{FF2B5EF4-FFF2-40B4-BE49-F238E27FC236}">
                    <a16:creationId xmlns:a16="http://schemas.microsoft.com/office/drawing/2014/main" id="{9238FE01-6327-AD43-9292-960D9A6062F8}"/>
                  </a:ext>
                </a:extLst>
              </p:cNvPr>
              <p:cNvSpPr/>
              <p:nvPr/>
            </p:nvSpPr>
            <p:spPr>
              <a:xfrm>
                <a:off x="2450680" y="3220317"/>
                <a:ext cx="21520" cy="8622"/>
              </a:xfrm>
              <a:custGeom>
                <a:avLst/>
                <a:gdLst>
                  <a:gd name="connsiteX0" fmla="*/ 19804 w 21520"/>
                  <a:gd name="connsiteY0" fmla="*/ 5741 h 8622"/>
                  <a:gd name="connsiteX1" fmla="*/ 21416 w 21520"/>
                  <a:gd name="connsiteY1" fmla="*/ 2116 h 8622"/>
                  <a:gd name="connsiteX2" fmla="*/ 17387 w 21520"/>
                  <a:gd name="connsiteY2" fmla="*/ 103 h 8622"/>
                  <a:gd name="connsiteX3" fmla="*/ 2883 w 21520"/>
                  <a:gd name="connsiteY3" fmla="*/ 2519 h 8622"/>
                  <a:gd name="connsiteX4" fmla="*/ 63 w 21520"/>
                  <a:gd name="connsiteY4" fmla="*/ 5741 h 8622"/>
                  <a:gd name="connsiteX5" fmla="*/ 3286 w 21520"/>
                  <a:gd name="connsiteY5" fmla="*/ 8560 h 8622"/>
                  <a:gd name="connsiteX6" fmla="*/ 19402 w 21520"/>
                  <a:gd name="connsiteY6" fmla="*/ 5741 h 8622"/>
                  <a:gd name="connsiteX7" fmla="*/ 19804 w 21520"/>
                  <a:gd name="connsiteY7" fmla="*/ 5741 h 8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520" h="8622">
                    <a:moveTo>
                      <a:pt x="19804" y="5741"/>
                    </a:moveTo>
                    <a:cubicBezTo>
                      <a:pt x="21013" y="4936"/>
                      <a:pt x="21819" y="3727"/>
                      <a:pt x="21416" y="2116"/>
                    </a:cubicBezTo>
                    <a:cubicBezTo>
                      <a:pt x="21013" y="505"/>
                      <a:pt x="19402" y="-300"/>
                      <a:pt x="17387" y="103"/>
                    </a:cubicBezTo>
                    <a:cubicBezTo>
                      <a:pt x="12552" y="1311"/>
                      <a:pt x="7718" y="2116"/>
                      <a:pt x="2883" y="2519"/>
                    </a:cubicBezTo>
                    <a:cubicBezTo>
                      <a:pt x="1271" y="2519"/>
                      <a:pt x="-340" y="4130"/>
                      <a:pt x="63" y="5741"/>
                    </a:cubicBezTo>
                    <a:cubicBezTo>
                      <a:pt x="63" y="7352"/>
                      <a:pt x="1674" y="8963"/>
                      <a:pt x="3286" y="8560"/>
                    </a:cubicBezTo>
                    <a:cubicBezTo>
                      <a:pt x="8523" y="8158"/>
                      <a:pt x="14164" y="7352"/>
                      <a:pt x="19402" y="5741"/>
                    </a:cubicBezTo>
                    <a:cubicBezTo>
                      <a:pt x="19402" y="5741"/>
                      <a:pt x="19402" y="5741"/>
                      <a:pt x="19804" y="5741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467" name="Forme libre 466">
              <a:extLst>
                <a:ext uri="{FF2B5EF4-FFF2-40B4-BE49-F238E27FC236}">
                  <a16:creationId xmlns:a16="http://schemas.microsoft.com/office/drawing/2014/main" id="{179D7EEF-496C-A046-B189-2E4900A2B201}"/>
                </a:ext>
              </a:extLst>
            </p:cNvPr>
            <p:cNvSpPr/>
            <p:nvPr/>
          </p:nvSpPr>
          <p:spPr>
            <a:xfrm>
              <a:off x="1211436" y="2491051"/>
              <a:ext cx="204268" cy="70480"/>
            </a:xfrm>
            <a:custGeom>
              <a:avLst/>
              <a:gdLst>
                <a:gd name="connsiteX0" fmla="*/ 0 w 204268"/>
                <a:gd name="connsiteY0" fmla="*/ 6444 h 70480"/>
                <a:gd name="connsiteX1" fmla="*/ 204268 w 204268"/>
                <a:gd name="connsiteY1" fmla="*/ 70480 h 70480"/>
                <a:gd name="connsiteX2" fmla="*/ 96292 w 204268"/>
                <a:gd name="connsiteY2" fmla="*/ 11277 h 70480"/>
                <a:gd name="connsiteX3" fmla="*/ 41498 w 204268"/>
                <a:gd name="connsiteY3" fmla="*/ 0 h 7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268" h="70480">
                  <a:moveTo>
                    <a:pt x="0" y="6444"/>
                  </a:moveTo>
                  <a:lnTo>
                    <a:pt x="204268" y="70480"/>
                  </a:lnTo>
                  <a:lnTo>
                    <a:pt x="96292" y="11277"/>
                  </a:lnTo>
                  <a:lnTo>
                    <a:pt x="41498" y="0"/>
                  </a:lnTo>
                  <a:close/>
                </a:path>
              </a:pathLst>
            </a:custGeom>
            <a:solidFill>
              <a:srgbClr val="F1F8F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468" name="Illustration">
              <a:extLst>
                <a:ext uri="{FF2B5EF4-FFF2-40B4-BE49-F238E27FC236}">
                  <a16:creationId xmlns:a16="http://schemas.microsoft.com/office/drawing/2014/main" id="{35FA8138-CB5A-A941-8FDF-94779534C29E}"/>
                </a:ext>
              </a:extLst>
            </p:cNvPr>
            <p:cNvGrpSpPr/>
            <p:nvPr/>
          </p:nvGrpSpPr>
          <p:grpSpPr>
            <a:xfrm>
              <a:off x="1208213" y="2497495"/>
              <a:ext cx="207491" cy="81341"/>
              <a:chOff x="1208213" y="2497495"/>
              <a:chExt cx="207491" cy="81341"/>
            </a:xfrm>
          </p:grpSpPr>
          <p:sp>
            <p:nvSpPr>
              <p:cNvPr id="469" name="Forme libre 468">
                <a:extLst>
                  <a:ext uri="{FF2B5EF4-FFF2-40B4-BE49-F238E27FC236}">
                    <a16:creationId xmlns:a16="http://schemas.microsoft.com/office/drawing/2014/main" id="{AE653933-919C-294D-981F-9272C3EC191E}"/>
                  </a:ext>
                </a:extLst>
              </p:cNvPr>
              <p:cNvSpPr/>
              <p:nvPr/>
            </p:nvSpPr>
            <p:spPr>
              <a:xfrm>
                <a:off x="1211436" y="2497495"/>
                <a:ext cx="204268" cy="64036"/>
              </a:xfrm>
              <a:custGeom>
                <a:avLst/>
                <a:gdLst>
                  <a:gd name="connsiteX0" fmla="*/ 204268 w 204268"/>
                  <a:gd name="connsiteY0" fmla="*/ 64036 h 64036"/>
                  <a:gd name="connsiteX1" fmla="*/ 2417 w 204268"/>
                  <a:gd name="connsiteY1" fmla="*/ 12485 h 64036"/>
                  <a:gd name="connsiteX2" fmla="*/ 0 w 204268"/>
                  <a:gd name="connsiteY2" fmla="*/ 0 h 6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04268" h="64036">
                    <a:moveTo>
                      <a:pt x="204268" y="64036"/>
                    </a:moveTo>
                    <a:lnTo>
                      <a:pt x="2417" y="1248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B0D9C8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0" name="Forme libre 469">
                <a:extLst>
                  <a:ext uri="{FF2B5EF4-FFF2-40B4-BE49-F238E27FC236}">
                    <a16:creationId xmlns:a16="http://schemas.microsoft.com/office/drawing/2014/main" id="{354FC397-5A16-3143-84C6-6674FFA9A64C}"/>
                  </a:ext>
                </a:extLst>
              </p:cNvPr>
              <p:cNvSpPr/>
              <p:nvPr/>
            </p:nvSpPr>
            <p:spPr>
              <a:xfrm>
                <a:off x="1208213" y="2544616"/>
                <a:ext cx="207088" cy="31413"/>
              </a:xfrm>
              <a:custGeom>
                <a:avLst/>
                <a:gdLst>
                  <a:gd name="connsiteX0" fmla="*/ 0 w 207088"/>
                  <a:gd name="connsiteY0" fmla="*/ 0 h 31413"/>
                  <a:gd name="connsiteX1" fmla="*/ 0 w 207088"/>
                  <a:gd name="connsiteY1" fmla="*/ 403 h 31413"/>
                  <a:gd name="connsiteX2" fmla="*/ 8461 w 207088"/>
                  <a:gd name="connsiteY2" fmla="*/ 31414 h 31413"/>
                  <a:gd name="connsiteX3" fmla="*/ 207088 w 207088"/>
                  <a:gd name="connsiteY3" fmla="*/ 16915 h 31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7088" h="31413">
                    <a:moveTo>
                      <a:pt x="0" y="0"/>
                    </a:moveTo>
                    <a:lnTo>
                      <a:pt x="0" y="403"/>
                    </a:lnTo>
                    <a:lnTo>
                      <a:pt x="8461" y="31414"/>
                    </a:lnTo>
                    <a:lnTo>
                      <a:pt x="207088" y="16915"/>
                    </a:lnTo>
                    <a:close/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471" name="Forme libre 470">
              <a:extLst>
                <a:ext uri="{FF2B5EF4-FFF2-40B4-BE49-F238E27FC236}">
                  <a16:creationId xmlns:a16="http://schemas.microsoft.com/office/drawing/2014/main" id="{A26D5B0C-7B25-3444-A372-EC6BDD515AE5}"/>
                </a:ext>
              </a:extLst>
            </p:cNvPr>
            <p:cNvSpPr/>
            <p:nvPr/>
          </p:nvSpPr>
          <p:spPr>
            <a:xfrm>
              <a:off x="1169535" y="2502731"/>
              <a:ext cx="244960" cy="58800"/>
            </a:xfrm>
            <a:custGeom>
              <a:avLst/>
              <a:gdLst>
                <a:gd name="connsiteX0" fmla="*/ 0 w 244960"/>
                <a:gd name="connsiteY0" fmla="*/ 23359 h 58800"/>
                <a:gd name="connsiteX1" fmla="*/ 58823 w 244960"/>
                <a:gd name="connsiteY1" fmla="*/ 53162 h 58800"/>
                <a:gd name="connsiteX2" fmla="*/ 244961 w 244960"/>
                <a:gd name="connsiteY2" fmla="*/ 58801 h 58800"/>
                <a:gd name="connsiteX3" fmla="*/ 29008 w 244960"/>
                <a:gd name="connsiteY3" fmla="*/ 0 h 5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4960" h="58800">
                  <a:moveTo>
                    <a:pt x="0" y="23359"/>
                  </a:moveTo>
                  <a:lnTo>
                    <a:pt x="58823" y="53162"/>
                  </a:lnTo>
                  <a:lnTo>
                    <a:pt x="244961" y="58801"/>
                  </a:lnTo>
                  <a:lnTo>
                    <a:pt x="29008" y="0"/>
                  </a:lnTo>
                  <a:close/>
                </a:path>
              </a:pathLst>
            </a:custGeom>
            <a:solidFill>
              <a:srgbClr val="F1F8F8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472" name="Illustration">
              <a:extLst>
                <a:ext uri="{FF2B5EF4-FFF2-40B4-BE49-F238E27FC236}">
                  <a16:creationId xmlns:a16="http://schemas.microsoft.com/office/drawing/2014/main" id="{96CCC050-4F8C-C74D-A2FD-C55117C48A1B}"/>
                </a:ext>
              </a:extLst>
            </p:cNvPr>
            <p:cNvGrpSpPr/>
            <p:nvPr/>
          </p:nvGrpSpPr>
          <p:grpSpPr>
            <a:xfrm>
              <a:off x="660275" y="2501120"/>
              <a:ext cx="481941" cy="456770"/>
              <a:chOff x="660275" y="2501120"/>
              <a:chExt cx="481941" cy="456770"/>
            </a:xfrm>
            <a:solidFill>
              <a:srgbClr val="63C1C5"/>
            </a:solidFill>
          </p:grpSpPr>
          <p:sp>
            <p:nvSpPr>
              <p:cNvPr id="473" name="Forme libre 472">
                <a:extLst>
                  <a:ext uri="{FF2B5EF4-FFF2-40B4-BE49-F238E27FC236}">
                    <a16:creationId xmlns:a16="http://schemas.microsoft.com/office/drawing/2014/main" id="{088AA4E0-97FD-0D4A-8506-8FBA06C7860C}"/>
                  </a:ext>
                </a:extLst>
              </p:cNvPr>
              <p:cNvSpPr/>
              <p:nvPr/>
            </p:nvSpPr>
            <p:spPr>
              <a:xfrm>
                <a:off x="706102" y="2916829"/>
                <a:ext cx="33061" cy="17003"/>
              </a:xfrm>
              <a:custGeom>
                <a:avLst/>
                <a:gdLst>
                  <a:gd name="connsiteX0" fmla="*/ 9369 w 33061"/>
                  <a:gd name="connsiteY0" fmla="*/ 8782 h 17003"/>
                  <a:gd name="connsiteX1" fmla="*/ 28708 w 33061"/>
                  <a:gd name="connsiteY1" fmla="*/ 324 h 17003"/>
                  <a:gd name="connsiteX2" fmla="*/ 32737 w 33061"/>
                  <a:gd name="connsiteY2" fmla="*/ 1532 h 17003"/>
                  <a:gd name="connsiteX3" fmla="*/ 31529 w 33061"/>
                  <a:gd name="connsiteY3" fmla="*/ 5560 h 17003"/>
                  <a:gd name="connsiteX4" fmla="*/ 11384 w 33061"/>
                  <a:gd name="connsiteY4" fmla="*/ 14420 h 17003"/>
                  <a:gd name="connsiteX5" fmla="*/ 3729 w 33061"/>
                  <a:gd name="connsiteY5" fmla="*/ 16837 h 17003"/>
                  <a:gd name="connsiteX6" fmla="*/ 1311 w 33061"/>
                  <a:gd name="connsiteY6" fmla="*/ 16434 h 17003"/>
                  <a:gd name="connsiteX7" fmla="*/ 103 w 33061"/>
                  <a:gd name="connsiteY7" fmla="*/ 14823 h 17003"/>
                  <a:gd name="connsiteX8" fmla="*/ 2117 w 33061"/>
                  <a:gd name="connsiteY8" fmla="*/ 11198 h 17003"/>
                  <a:gd name="connsiteX9" fmla="*/ 9369 w 33061"/>
                  <a:gd name="connsiteY9" fmla="*/ 8782 h 17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061" h="17003">
                    <a:moveTo>
                      <a:pt x="9369" y="8782"/>
                    </a:moveTo>
                    <a:cubicBezTo>
                      <a:pt x="15816" y="6365"/>
                      <a:pt x="22665" y="3546"/>
                      <a:pt x="28708" y="324"/>
                    </a:cubicBezTo>
                    <a:cubicBezTo>
                      <a:pt x="30320" y="-481"/>
                      <a:pt x="31931" y="324"/>
                      <a:pt x="32737" y="1532"/>
                    </a:cubicBezTo>
                    <a:cubicBezTo>
                      <a:pt x="33543" y="3143"/>
                      <a:pt x="32737" y="4754"/>
                      <a:pt x="31529" y="5560"/>
                    </a:cubicBezTo>
                    <a:cubicBezTo>
                      <a:pt x="25082" y="8782"/>
                      <a:pt x="18233" y="12004"/>
                      <a:pt x="11384" y="14420"/>
                    </a:cubicBezTo>
                    <a:cubicBezTo>
                      <a:pt x="8966" y="15226"/>
                      <a:pt x="6549" y="16031"/>
                      <a:pt x="3729" y="16837"/>
                    </a:cubicBezTo>
                    <a:cubicBezTo>
                      <a:pt x="2923" y="17239"/>
                      <a:pt x="1714" y="16837"/>
                      <a:pt x="1311" y="16434"/>
                    </a:cubicBezTo>
                    <a:cubicBezTo>
                      <a:pt x="908" y="16031"/>
                      <a:pt x="506" y="15628"/>
                      <a:pt x="103" y="14823"/>
                    </a:cubicBezTo>
                    <a:cubicBezTo>
                      <a:pt x="-300" y="13212"/>
                      <a:pt x="506" y="11601"/>
                      <a:pt x="2117" y="11198"/>
                    </a:cubicBezTo>
                    <a:cubicBezTo>
                      <a:pt x="4535" y="10393"/>
                      <a:pt x="6952" y="9990"/>
                      <a:pt x="9369" y="8782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4" name="Forme libre 473">
                <a:extLst>
                  <a:ext uri="{FF2B5EF4-FFF2-40B4-BE49-F238E27FC236}">
                    <a16:creationId xmlns:a16="http://schemas.microsoft.com/office/drawing/2014/main" id="{DB310ADF-239F-7441-8C05-5CA7A38513C1}"/>
                  </a:ext>
                </a:extLst>
              </p:cNvPr>
              <p:cNvSpPr/>
              <p:nvPr/>
            </p:nvSpPr>
            <p:spPr>
              <a:xfrm>
                <a:off x="1107829" y="2504264"/>
                <a:ext cx="34386" cy="10224"/>
              </a:xfrm>
              <a:custGeom>
                <a:avLst/>
                <a:gdLst>
                  <a:gd name="connsiteX0" fmla="*/ 2883 w 34386"/>
                  <a:gd name="connsiteY0" fmla="*/ 78 h 10224"/>
                  <a:gd name="connsiteX1" fmla="*/ 31891 w 34386"/>
                  <a:gd name="connsiteY1" fmla="*/ 4508 h 10224"/>
                  <a:gd name="connsiteX2" fmla="*/ 34309 w 34386"/>
                  <a:gd name="connsiteY2" fmla="*/ 7730 h 10224"/>
                  <a:gd name="connsiteX3" fmla="*/ 31086 w 34386"/>
                  <a:gd name="connsiteY3" fmla="*/ 10147 h 10224"/>
                  <a:gd name="connsiteX4" fmla="*/ 2480 w 34386"/>
                  <a:gd name="connsiteY4" fmla="*/ 5716 h 10224"/>
                  <a:gd name="connsiteX5" fmla="*/ 1271 w 34386"/>
                  <a:gd name="connsiteY5" fmla="*/ 5314 h 10224"/>
                  <a:gd name="connsiteX6" fmla="*/ 63 w 34386"/>
                  <a:gd name="connsiteY6" fmla="*/ 2494 h 10224"/>
                  <a:gd name="connsiteX7" fmla="*/ 2883 w 34386"/>
                  <a:gd name="connsiteY7" fmla="*/ 78 h 10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386" h="10224">
                    <a:moveTo>
                      <a:pt x="2883" y="78"/>
                    </a:moveTo>
                    <a:cubicBezTo>
                      <a:pt x="12149" y="1286"/>
                      <a:pt x="21416" y="2897"/>
                      <a:pt x="31891" y="4508"/>
                    </a:cubicBezTo>
                    <a:cubicBezTo>
                      <a:pt x="33503" y="4911"/>
                      <a:pt x="34712" y="6522"/>
                      <a:pt x="34309" y="7730"/>
                    </a:cubicBezTo>
                    <a:cubicBezTo>
                      <a:pt x="33906" y="9341"/>
                      <a:pt x="32294" y="10549"/>
                      <a:pt x="31086" y="10147"/>
                    </a:cubicBezTo>
                    <a:cubicBezTo>
                      <a:pt x="20610" y="8133"/>
                      <a:pt x="11344" y="6925"/>
                      <a:pt x="2480" y="5716"/>
                    </a:cubicBezTo>
                    <a:cubicBezTo>
                      <a:pt x="2077" y="5716"/>
                      <a:pt x="1674" y="5314"/>
                      <a:pt x="1271" y="5314"/>
                    </a:cubicBezTo>
                    <a:cubicBezTo>
                      <a:pt x="466" y="4911"/>
                      <a:pt x="63" y="3703"/>
                      <a:pt x="63" y="2494"/>
                    </a:cubicBezTo>
                    <a:cubicBezTo>
                      <a:pt x="-340" y="884"/>
                      <a:pt x="1271" y="-325"/>
                      <a:pt x="2883" y="78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5" name="Forme libre 474">
                <a:extLst>
                  <a:ext uri="{FF2B5EF4-FFF2-40B4-BE49-F238E27FC236}">
                    <a16:creationId xmlns:a16="http://schemas.microsoft.com/office/drawing/2014/main" id="{C5316CD1-59EA-684B-9E8D-61154BA641E6}"/>
                  </a:ext>
                </a:extLst>
              </p:cNvPr>
              <p:cNvSpPr/>
              <p:nvPr/>
            </p:nvSpPr>
            <p:spPr>
              <a:xfrm>
                <a:off x="1060350" y="2501120"/>
                <a:ext cx="35051" cy="7249"/>
              </a:xfrm>
              <a:custGeom>
                <a:avLst/>
                <a:gdLst>
                  <a:gd name="connsiteX0" fmla="*/ 1209 w 35051"/>
                  <a:gd name="connsiteY0" fmla="*/ 5236 h 7249"/>
                  <a:gd name="connsiteX1" fmla="*/ 0 w 35051"/>
                  <a:gd name="connsiteY1" fmla="*/ 2819 h 7249"/>
                  <a:gd name="connsiteX2" fmla="*/ 2820 w 35051"/>
                  <a:gd name="connsiteY2" fmla="*/ 0 h 7249"/>
                  <a:gd name="connsiteX3" fmla="*/ 32232 w 35051"/>
                  <a:gd name="connsiteY3" fmla="*/ 1208 h 7249"/>
                  <a:gd name="connsiteX4" fmla="*/ 35052 w 35051"/>
                  <a:gd name="connsiteY4" fmla="*/ 4430 h 7249"/>
                  <a:gd name="connsiteX5" fmla="*/ 31829 w 35051"/>
                  <a:gd name="connsiteY5" fmla="*/ 7249 h 7249"/>
                  <a:gd name="connsiteX6" fmla="*/ 2820 w 35051"/>
                  <a:gd name="connsiteY6" fmla="*/ 6041 h 7249"/>
                  <a:gd name="connsiteX7" fmla="*/ 1209 w 35051"/>
                  <a:gd name="connsiteY7" fmla="*/ 5236 h 7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051" h="7249">
                    <a:moveTo>
                      <a:pt x="1209" y="5236"/>
                    </a:moveTo>
                    <a:cubicBezTo>
                      <a:pt x="403" y="4833"/>
                      <a:pt x="0" y="4027"/>
                      <a:pt x="0" y="2819"/>
                    </a:cubicBezTo>
                    <a:cubicBezTo>
                      <a:pt x="0" y="1208"/>
                      <a:pt x="1209" y="0"/>
                      <a:pt x="2820" y="0"/>
                    </a:cubicBezTo>
                    <a:cubicBezTo>
                      <a:pt x="12087" y="0"/>
                      <a:pt x="22159" y="403"/>
                      <a:pt x="32232" y="1208"/>
                    </a:cubicBezTo>
                    <a:cubicBezTo>
                      <a:pt x="33843" y="1208"/>
                      <a:pt x="35052" y="2819"/>
                      <a:pt x="35052" y="4430"/>
                    </a:cubicBezTo>
                    <a:cubicBezTo>
                      <a:pt x="35052" y="6041"/>
                      <a:pt x="33440" y="7249"/>
                      <a:pt x="31829" y="7249"/>
                    </a:cubicBezTo>
                    <a:cubicBezTo>
                      <a:pt x="21756" y="6444"/>
                      <a:pt x="12087" y="6041"/>
                      <a:pt x="2820" y="6041"/>
                    </a:cubicBezTo>
                    <a:cubicBezTo>
                      <a:pt x="2417" y="6041"/>
                      <a:pt x="2014" y="5638"/>
                      <a:pt x="1209" y="5236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6" name="Forme libre 475">
                <a:extLst>
                  <a:ext uri="{FF2B5EF4-FFF2-40B4-BE49-F238E27FC236}">
                    <a16:creationId xmlns:a16="http://schemas.microsoft.com/office/drawing/2014/main" id="{1B98977E-B9F3-B84F-BD99-D3303FA2487D}"/>
                  </a:ext>
                </a:extLst>
              </p:cNvPr>
              <p:cNvSpPr/>
              <p:nvPr/>
            </p:nvSpPr>
            <p:spPr>
              <a:xfrm>
                <a:off x="748895" y="2889666"/>
                <a:ext cx="28319" cy="24466"/>
              </a:xfrm>
              <a:custGeom>
                <a:avLst/>
                <a:gdLst>
                  <a:gd name="connsiteX0" fmla="*/ 23384 w 28319"/>
                  <a:gd name="connsiteY0" fmla="*/ 906 h 24466"/>
                  <a:gd name="connsiteX1" fmla="*/ 27413 w 28319"/>
                  <a:gd name="connsiteY1" fmla="*/ 906 h 24466"/>
                  <a:gd name="connsiteX2" fmla="*/ 27413 w 28319"/>
                  <a:gd name="connsiteY2" fmla="*/ 4934 h 24466"/>
                  <a:gd name="connsiteX3" fmla="*/ 4448 w 28319"/>
                  <a:gd name="connsiteY3" fmla="*/ 23863 h 24466"/>
                  <a:gd name="connsiteX4" fmla="*/ 1225 w 28319"/>
                  <a:gd name="connsiteY4" fmla="*/ 23863 h 24466"/>
                  <a:gd name="connsiteX5" fmla="*/ 419 w 28319"/>
                  <a:gd name="connsiteY5" fmla="*/ 23057 h 24466"/>
                  <a:gd name="connsiteX6" fmla="*/ 1225 w 28319"/>
                  <a:gd name="connsiteY6" fmla="*/ 19030 h 24466"/>
                  <a:gd name="connsiteX7" fmla="*/ 23384 w 28319"/>
                  <a:gd name="connsiteY7" fmla="*/ 906 h 2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319" h="24466">
                    <a:moveTo>
                      <a:pt x="23384" y="906"/>
                    </a:moveTo>
                    <a:cubicBezTo>
                      <a:pt x="24593" y="-302"/>
                      <a:pt x="26205" y="-302"/>
                      <a:pt x="27413" y="906"/>
                    </a:cubicBezTo>
                    <a:cubicBezTo>
                      <a:pt x="28622" y="2114"/>
                      <a:pt x="28622" y="3725"/>
                      <a:pt x="27413" y="4934"/>
                    </a:cubicBezTo>
                    <a:cubicBezTo>
                      <a:pt x="20161" y="11780"/>
                      <a:pt x="12506" y="18224"/>
                      <a:pt x="4448" y="23863"/>
                    </a:cubicBezTo>
                    <a:cubicBezTo>
                      <a:pt x="3239" y="24668"/>
                      <a:pt x="2031" y="24668"/>
                      <a:pt x="1225" y="23863"/>
                    </a:cubicBezTo>
                    <a:cubicBezTo>
                      <a:pt x="822" y="23863"/>
                      <a:pt x="822" y="23460"/>
                      <a:pt x="419" y="23057"/>
                    </a:cubicBezTo>
                    <a:cubicBezTo>
                      <a:pt x="-387" y="21849"/>
                      <a:pt x="16" y="19835"/>
                      <a:pt x="1225" y="19030"/>
                    </a:cubicBezTo>
                    <a:cubicBezTo>
                      <a:pt x="8880" y="13391"/>
                      <a:pt x="16535" y="7350"/>
                      <a:pt x="23384" y="906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7" name="Forme libre 476">
                <a:extLst>
                  <a:ext uri="{FF2B5EF4-FFF2-40B4-BE49-F238E27FC236}">
                    <a16:creationId xmlns:a16="http://schemas.microsoft.com/office/drawing/2014/main" id="{4E54020F-72F0-BF47-BC98-139CA2B4C4E5}"/>
                  </a:ext>
                </a:extLst>
              </p:cNvPr>
              <p:cNvSpPr/>
              <p:nvPr/>
            </p:nvSpPr>
            <p:spPr>
              <a:xfrm>
                <a:off x="783234" y="2852312"/>
                <a:ext cx="22407" cy="30129"/>
              </a:xfrm>
              <a:custGeom>
                <a:avLst/>
                <a:gdLst>
                  <a:gd name="connsiteX0" fmla="*/ 1133 w 22407"/>
                  <a:gd name="connsiteY0" fmla="*/ 29400 h 30129"/>
                  <a:gd name="connsiteX1" fmla="*/ 730 w 22407"/>
                  <a:gd name="connsiteY1" fmla="*/ 25373 h 30129"/>
                  <a:gd name="connsiteX2" fmla="*/ 5565 w 22407"/>
                  <a:gd name="connsiteY2" fmla="*/ 19332 h 30129"/>
                  <a:gd name="connsiteX3" fmla="*/ 16846 w 22407"/>
                  <a:gd name="connsiteY3" fmla="*/ 1611 h 30129"/>
                  <a:gd name="connsiteX4" fmla="*/ 20875 w 22407"/>
                  <a:gd name="connsiteY4" fmla="*/ 403 h 30129"/>
                  <a:gd name="connsiteX5" fmla="*/ 22083 w 22407"/>
                  <a:gd name="connsiteY5" fmla="*/ 4430 h 30129"/>
                  <a:gd name="connsiteX6" fmla="*/ 10399 w 22407"/>
                  <a:gd name="connsiteY6" fmla="*/ 22554 h 30129"/>
                  <a:gd name="connsiteX7" fmla="*/ 5565 w 22407"/>
                  <a:gd name="connsiteY7" fmla="*/ 28998 h 30129"/>
                  <a:gd name="connsiteX8" fmla="*/ 1133 w 22407"/>
                  <a:gd name="connsiteY8" fmla="*/ 29400 h 30129"/>
                  <a:gd name="connsiteX9" fmla="*/ 1133 w 22407"/>
                  <a:gd name="connsiteY9" fmla="*/ 29400 h 30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07" h="30129">
                    <a:moveTo>
                      <a:pt x="1133" y="29400"/>
                    </a:moveTo>
                    <a:cubicBezTo>
                      <a:pt x="-76" y="28192"/>
                      <a:pt x="-479" y="26581"/>
                      <a:pt x="730" y="25373"/>
                    </a:cubicBezTo>
                    <a:cubicBezTo>
                      <a:pt x="2341" y="23359"/>
                      <a:pt x="3953" y="21345"/>
                      <a:pt x="5565" y="19332"/>
                    </a:cubicBezTo>
                    <a:cubicBezTo>
                      <a:pt x="9593" y="13693"/>
                      <a:pt x="13622" y="7652"/>
                      <a:pt x="16846" y="1611"/>
                    </a:cubicBezTo>
                    <a:cubicBezTo>
                      <a:pt x="17651" y="0"/>
                      <a:pt x="19263" y="-403"/>
                      <a:pt x="20875" y="403"/>
                    </a:cubicBezTo>
                    <a:cubicBezTo>
                      <a:pt x="22083" y="1208"/>
                      <a:pt x="22889" y="2819"/>
                      <a:pt x="22083" y="4430"/>
                    </a:cubicBezTo>
                    <a:cubicBezTo>
                      <a:pt x="18457" y="10874"/>
                      <a:pt x="14831" y="16915"/>
                      <a:pt x="10399" y="22554"/>
                    </a:cubicBezTo>
                    <a:cubicBezTo>
                      <a:pt x="8788" y="24567"/>
                      <a:pt x="7176" y="26984"/>
                      <a:pt x="5565" y="28998"/>
                    </a:cubicBezTo>
                    <a:cubicBezTo>
                      <a:pt x="4356" y="30206"/>
                      <a:pt x="2341" y="30609"/>
                      <a:pt x="1133" y="29400"/>
                    </a:cubicBezTo>
                    <a:cubicBezTo>
                      <a:pt x="1133" y="29803"/>
                      <a:pt x="1133" y="29400"/>
                      <a:pt x="1133" y="29400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8" name="Forme libre 477">
                <a:extLst>
                  <a:ext uri="{FF2B5EF4-FFF2-40B4-BE49-F238E27FC236}">
                    <a16:creationId xmlns:a16="http://schemas.microsoft.com/office/drawing/2014/main" id="{8199C01B-B50A-7A4D-AF22-1EFC19852042}"/>
                  </a:ext>
                </a:extLst>
              </p:cNvPr>
              <p:cNvSpPr/>
              <p:nvPr/>
            </p:nvSpPr>
            <p:spPr>
              <a:xfrm>
                <a:off x="806912" y="2808713"/>
                <a:ext cx="15026" cy="33675"/>
              </a:xfrm>
              <a:custGeom>
                <a:avLst/>
                <a:gdLst>
                  <a:gd name="connsiteX0" fmla="*/ 2031 w 15026"/>
                  <a:gd name="connsiteY0" fmla="*/ 33530 h 33675"/>
                  <a:gd name="connsiteX1" fmla="*/ 1225 w 15026"/>
                  <a:gd name="connsiteY1" fmla="*/ 33128 h 33675"/>
                  <a:gd name="connsiteX2" fmla="*/ 419 w 15026"/>
                  <a:gd name="connsiteY2" fmla="*/ 29503 h 33675"/>
                  <a:gd name="connsiteX3" fmla="*/ 9283 w 15026"/>
                  <a:gd name="connsiteY3" fmla="*/ 2116 h 33675"/>
                  <a:gd name="connsiteX4" fmla="*/ 12909 w 15026"/>
                  <a:gd name="connsiteY4" fmla="*/ 103 h 33675"/>
                  <a:gd name="connsiteX5" fmla="*/ 14923 w 15026"/>
                  <a:gd name="connsiteY5" fmla="*/ 3727 h 33675"/>
                  <a:gd name="connsiteX6" fmla="*/ 5657 w 15026"/>
                  <a:gd name="connsiteY6" fmla="*/ 31919 h 33675"/>
                  <a:gd name="connsiteX7" fmla="*/ 2031 w 15026"/>
                  <a:gd name="connsiteY7" fmla="*/ 33530 h 33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26" h="33675">
                    <a:moveTo>
                      <a:pt x="2031" y="33530"/>
                    </a:moveTo>
                    <a:cubicBezTo>
                      <a:pt x="1628" y="33530"/>
                      <a:pt x="1628" y="33128"/>
                      <a:pt x="1225" y="33128"/>
                    </a:cubicBezTo>
                    <a:cubicBezTo>
                      <a:pt x="16" y="32322"/>
                      <a:pt x="-387" y="31114"/>
                      <a:pt x="419" y="29503"/>
                    </a:cubicBezTo>
                    <a:cubicBezTo>
                      <a:pt x="4045" y="21045"/>
                      <a:pt x="6866" y="12185"/>
                      <a:pt x="9283" y="2116"/>
                    </a:cubicBezTo>
                    <a:cubicBezTo>
                      <a:pt x="9686" y="505"/>
                      <a:pt x="11297" y="-300"/>
                      <a:pt x="12909" y="103"/>
                    </a:cubicBezTo>
                    <a:cubicBezTo>
                      <a:pt x="14521" y="505"/>
                      <a:pt x="15326" y="2116"/>
                      <a:pt x="14923" y="3727"/>
                    </a:cubicBezTo>
                    <a:cubicBezTo>
                      <a:pt x="12506" y="14199"/>
                      <a:pt x="9283" y="23059"/>
                      <a:pt x="5657" y="31919"/>
                    </a:cubicBezTo>
                    <a:cubicBezTo>
                      <a:pt x="5254" y="33530"/>
                      <a:pt x="3642" y="33933"/>
                      <a:pt x="2031" y="33530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79" name="Forme libre 478">
                <a:extLst>
                  <a:ext uri="{FF2B5EF4-FFF2-40B4-BE49-F238E27FC236}">
                    <a16:creationId xmlns:a16="http://schemas.microsoft.com/office/drawing/2014/main" id="{61F64F74-CE78-264B-94E4-21E7080CDB4F}"/>
                  </a:ext>
                </a:extLst>
              </p:cNvPr>
              <p:cNvSpPr/>
              <p:nvPr/>
            </p:nvSpPr>
            <p:spPr>
              <a:xfrm>
                <a:off x="864526" y="2587383"/>
                <a:ext cx="22905" cy="29743"/>
              </a:xfrm>
              <a:custGeom>
                <a:avLst/>
                <a:gdLst>
                  <a:gd name="connsiteX0" fmla="*/ 22176 w 22905"/>
                  <a:gd name="connsiteY0" fmla="*/ 4757 h 29743"/>
                  <a:gd name="connsiteX1" fmla="*/ 14923 w 22905"/>
                  <a:gd name="connsiteY1" fmla="*/ 14020 h 29743"/>
                  <a:gd name="connsiteX2" fmla="*/ 5254 w 22905"/>
                  <a:gd name="connsiteY2" fmla="*/ 28519 h 29743"/>
                  <a:gd name="connsiteX3" fmla="*/ 1225 w 22905"/>
                  <a:gd name="connsiteY3" fmla="*/ 29324 h 29743"/>
                  <a:gd name="connsiteX4" fmla="*/ 1225 w 22905"/>
                  <a:gd name="connsiteY4" fmla="*/ 29324 h 29743"/>
                  <a:gd name="connsiteX5" fmla="*/ 419 w 22905"/>
                  <a:gd name="connsiteY5" fmla="*/ 25297 h 29743"/>
                  <a:gd name="connsiteX6" fmla="*/ 10492 w 22905"/>
                  <a:gd name="connsiteY6" fmla="*/ 10395 h 29743"/>
                  <a:gd name="connsiteX7" fmla="*/ 17744 w 22905"/>
                  <a:gd name="connsiteY7" fmla="*/ 1132 h 29743"/>
                  <a:gd name="connsiteX8" fmla="*/ 21773 w 22905"/>
                  <a:gd name="connsiteY8" fmla="*/ 729 h 29743"/>
                  <a:gd name="connsiteX9" fmla="*/ 22176 w 22905"/>
                  <a:gd name="connsiteY9" fmla="*/ 4757 h 2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905" h="29743">
                    <a:moveTo>
                      <a:pt x="22176" y="4757"/>
                    </a:moveTo>
                    <a:cubicBezTo>
                      <a:pt x="19758" y="7576"/>
                      <a:pt x="17341" y="10798"/>
                      <a:pt x="14923" y="14020"/>
                    </a:cubicBezTo>
                    <a:cubicBezTo>
                      <a:pt x="11297" y="18853"/>
                      <a:pt x="8074" y="23686"/>
                      <a:pt x="5254" y="28519"/>
                    </a:cubicBezTo>
                    <a:cubicBezTo>
                      <a:pt x="4448" y="29727"/>
                      <a:pt x="2434" y="30130"/>
                      <a:pt x="1225" y="29324"/>
                    </a:cubicBezTo>
                    <a:cubicBezTo>
                      <a:pt x="1225" y="29324"/>
                      <a:pt x="1225" y="29324"/>
                      <a:pt x="1225" y="29324"/>
                    </a:cubicBezTo>
                    <a:cubicBezTo>
                      <a:pt x="16" y="28519"/>
                      <a:pt x="-387" y="26908"/>
                      <a:pt x="419" y="25297"/>
                    </a:cubicBezTo>
                    <a:cubicBezTo>
                      <a:pt x="3642" y="20464"/>
                      <a:pt x="6866" y="15228"/>
                      <a:pt x="10492" y="10395"/>
                    </a:cubicBezTo>
                    <a:cubicBezTo>
                      <a:pt x="12909" y="7173"/>
                      <a:pt x="15326" y="3951"/>
                      <a:pt x="17744" y="1132"/>
                    </a:cubicBezTo>
                    <a:cubicBezTo>
                      <a:pt x="18952" y="-76"/>
                      <a:pt x="20564" y="-479"/>
                      <a:pt x="21773" y="729"/>
                    </a:cubicBezTo>
                    <a:cubicBezTo>
                      <a:pt x="22981" y="1535"/>
                      <a:pt x="23384" y="3549"/>
                      <a:pt x="22176" y="4757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0" name="Forme libre 479">
                <a:extLst>
                  <a:ext uri="{FF2B5EF4-FFF2-40B4-BE49-F238E27FC236}">
                    <a16:creationId xmlns:a16="http://schemas.microsoft.com/office/drawing/2014/main" id="{56A396F2-4EB8-7245-A88C-2AEC8209E588}"/>
                  </a:ext>
                </a:extLst>
              </p:cNvPr>
              <p:cNvSpPr/>
              <p:nvPr/>
            </p:nvSpPr>
            <p:spPr>
              <a:xfrm>
                <a:off x="843844" y="2626776"/>
                <a:ext cx="17626" cy="32535"/>
              </a:xfrm>
              <a:custGeom>
                <a:avLst/>
                <a:gdLst>
                  <a:gd name="connsiteX0" fmla="*/ 17476 w 17626"/>
                  <a:gd name="connsiteY0" fmla="*/ 4027 h 32535"/>
                  <a:gd name="connsiteX1" fmla="*/ 5792 w 17626"/>
                  <a:gd name="connsiteY1" fmla="*/ 30609 h 32535"/>
                  <a:gd name="connsiteX2" fmla="*/ 2166 w 17626"/>
                  <a:gd name="connsiteY2" fmla="*/ 32219 h 32535"/>
                  <a:gd name="connsiteX3" fmla="*/ 1360 w 17626"/>
                  <a:gd name="connsiteY3" fmla="*/ 31817 h 32535"/>
                  <a:gd name="connsiteX4" fmla="*/ 151 w 17626"/>
                  <a:gd name="connsiteY4" fmla="*/ 28595 h 32535"/>
                  <a:gd name="connsiteX5" fmla="*/ 12238 w 17626"/>
                  <a:gd name="connsiteY5" fmla="*/ 1611 h 32535"/>
                  <a:gd name="connsiteX6" fmla="*/ 16267 w 17626"/>
                  <a:gd name="connsiteY6" fmla="*/ 403 h 32535"/>
                  <a:gd name="connsiteX7" fmla="*/ 17476 w 17626"/>
                  <a:gd name="connsiteY7" fmla="*/ 4027 h 32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626" h="32535">
                    <a:moveTo>
                      <a:pt x="17476" y="4027"/>
                    </a:moveTo>
                    <a:cubicBezTo>
                      <a:pt x="13044" y="12485"/>
                      <a:pt x="9015" y="21345"/>
                      <a:pt x="5792" y="30609"/>
                    </a:cubicBezTo>
                    <a:cubicBezTo>
                      <a:pt x="5389" y="32219"/>
                      <a:pt x="3374" y="33025"/>
                      <a:pt x="2166" y="32219"/>
                    </a:cubicBezTo>
                    <a:cubicBezTo>
                      <a:pt x="1763" y="32219"/>
                      <a:pt x="1763" y="31817"/>
                      <a:pt x="1360" y="31817"/>
                    </a:cubicBezTo>
                    <a:cubicBezTo>
                      <a:pt x="151" y="31011"/>
                      <a:pt x="-252" y="29803"/>
                      <a:pt x="151" y="28595"/>
                    </a:cubicBezTo>
                    <a:cubicBezTo>
                      <a:pt x="3374" y="19332"/>
                      <a:pt x="7403" y="10069"/>
                      <a:pt x="12238" y="1611"/>
                    </a:cubicBezTo>
                    <a:cubicBezTo>
                      <a:pt x="13044" y="0"/>
                      <a:pt x="14655" y="-403"/>
                      <a:pt x="16267" y="403"/>
                    </a:cubicBezTo>
                    <a:cubicBezTo>
                      <a:pt x="17476" y="403"/>
                      <a:pt x="17879" y="2416"/>
                      <a:pt x="17476" y="4027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1" name="Forme libre 480">
                <a:extLst>
                  <a:ext uri="{FF2B5EF4-FFF2-40B4-BE49-F238E27FC236}">
                    <a16:creationId xmlns:a16="http://schemas.microsoft.com/office/drawing/2014/main" id="{EC0FD4C2-0324-9B4D-8CFC-653D24C52CC9}"/>
                  </a:ext>
                </a:extLst>
              </p:cNvPr>
              <p:cNvSpPr/>
              <p:nvPr/>
            </p:nvSpPr>
            <p:spPr>
              <a:xfrm>
                <a:off x="892645" y="2554358"/>
                <a:ext cx="27754" cy="25858"/>
              </a:xfrm>
              <a:custGeom>
                <a:avLst/>
                <a:gdLst>
                  <a:gd name="connsiteX0" fmla="*/ 26692 w 27754"/>
                  <a:gd name="connsiteY0" fmla="*/ 5160 h 25858"/>
                  <a:gd name="connsiteX1" fmla="*/ 5338 w 27754"/>
                  <a:gd name="connsiteY1" fmla="*/ 24894 h 25858"/>
                  <a:gd name="connsiteX2" fmla="*/ 1309 w 27754"/>
                  <a:gd name="connsiteY2" fmla="*/ 25297 h 25858"/>
                  <a:gd name="connsiteX3" fmla="*/ 907 w 27754"/>
                  <a:gd name="connsiteY3" fmla="*/ 24894 h 25858"/>
                  <a:gd name="connsiteX4" fmla="*/ 907 w 27754"/>
                  <a:gd name="connsiteY4" fmla="*/ 20867 h 25858"/>
                  <a:gd name="connsiteX5" fmla="*/ 22663 w 27754"/>
                  <a:gd name="connsiteY5" fmla="*/ 730 h 25858"/>
                  <a:gd name="connsiteX6" fmla="*/ 26692 w 27754"/>
                  <a:gd name="connsiteY6" fmla="*/ 1132 h 25858"/>
                  <a:gd name="connsiteX7" fmla="*/ 26692 w 27754"/>
                  <a:gd name="connsiteY7" fmla="*/ 5160 h 2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754" h="25858">
                    <a:moveTo>
                      <a:pt x="26692" y="5160"/>
                    </a:moveTo>
                    <a:cubicBezTo>
                      <a:pt x="19037" y="11201"/>
                      <a:pt x="12188" y="18047"/>
                      <a:pt x="5338" y="24894"/>
                    </a:cubicBezTo>
                    <a:cubicBezTo>
                      <a:pt x="4130" y="26102"/>
                      <a:pt x="2518" y="26102"/>
                      <a:pt x="1309" y="25297"/>
                    </a:cubicBezTo>
                    <a:cubicBezTo>
                      <a:pt x="1309" y="25297"/>
                      <a:pt x="1309" y="25297"/>
                      <a:pt x="907" y="24894"/>
                    </a:cubicBezTo>
                    <a:cubicBezTo>
                      <a:pt x="-302" y="23686"/>
                      <a:pt x="-302" y="22075"/>
                      <a:pt x="907" y="20867"/>
                    </a:cubicBezTo>
                    <a:cubicBezTo>
                      <a:pt x="7756" y="13617"/>
                      <a:pt x="15008" y="6771"/>
                      <a:pt x="22663" y="730"/>
                    </a:cubicBezTo>
                    <a:cubicBezTo>
                      <a:pt x="23872" y="-479"/>
                      <a:pt x="25886" y="-76"/>
                      <a:pt x="26692" y="1132"/>
                    </a:cubicBezTo>
                    <a:cubicBezTo>
                      <a:pt x="28303" y="2341"/>
                      <a:pt x="27901" y="3951"/>
                      <a:pt x="26692" y="5160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2" name="Forme libre 481">
                <a:extLst>
                  <a:ext uri="{FF2B5EF4-FFF2-40B4-BE49-F238E27FC236}">
                    <a16:creationId xmlns:a16="http://schemas.microsoft.com/office/drawing/2014/main" id="{99229E4B-1ADF-4846-86A6-39981E746A0C}"/>
                  </a:ext>
                </a:extLst>
              </p:cNvPr>
              <p:cNvSpPr/>
              <p:nvPr/>
            </p:nvSpPr>
            <p:spPr>
              <a:xfrm>
                <a:off x="969382" y="2510280"/>
                <a:ext cx="33456" cy="16074"/>
              </a:xfrm>
              <a:custGeom>
                <a:avLst/>
                <a:gdLst>
                  <a:gd name="connsiteX0" fmla="*/ 3942 w 33456"/>
                  <a:gd name="connsiteY0" fmla="*/ 15810 h 16074"/>
                  <a:gd name="connsiteX1" fmla="*/ 1122 w 33456"/>
                  <a:gd name="connsiteY1" fmla="*/ 15407 h 16074"/>
                  <a:gd name="connsiteX2" fmla="*/ 316 w 33456"/>
                  <a:gd name="connsiteY2" fmla="*/ 14199 h 16074"/>
                  <a:gd name="connsiteX3" fmla="*/ 1928 w 33456"/>
                  <a:gd name="connsiteY3" fmla="*/ 10171 h 16074"/>
                  <a:gd name="connsiteX4" fmla="*/ 29727 w 33456"/>
                  <a:gd name="connsiteY4" fmla="*/ 103 h 16074"/>
                  <a:gd name="connsiteX5" fmla="*/ 33354 w 33456"/>
                  <a:gd name="connsiteY5" fmla="*/ 2116 h 16074"/>
                  <a:gd name="connsiteX6" fmla="*/ 31339 w 33456"/>
                  <a:gd name="connsiteY6" fmla="*/ 5741 h 16074"/>
                  <a:gd name="connsiteX7" fmla="*/ 3942 w 33456"/>
                  <a:gd name="connsiteY7" fmla="*/ 15810 h 1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56" h="16074">
                    <a:moveTo>
                      <a:pt x="3942" y="15810"/>
                    </a:moveTo>
                    <a:cubicBezTo>
                      <a:pt x="3136" y="16212"/>
                      <a:pt x="1928" y="16212"/>
                      <a:pt x="1122" y="15407"/>
                    </a:cubicBezTo>
                    <a:cubicBezTo>
                      <a:pt x="719" y="15004"/>
                      <a:pt x="316" y="14601"/>
                      <a:pt x="316" y="14199"/>
                    </a:cubicBezTo>
                    <a:cubicBezTo>
                      <a:pt x="-490" y="12588"/>
                      <a:pt x="316" y="10977"/>
                      <a:pt x="1928" y="10171"/>
                    </a:cubicBezTo>
                    <a:cubicBezTo>
                      <a:pt x="11194" y="6144"/>
                      <a:pt x="20461" y="2519"/>
                      <a:pt x="29727" y="103"/>
                    </a:cubicBezTo>
                    <a:cubicBezTo>
                      <a:pt x="31339" y="-300"/>
                      <a:pt x="32951" y="505"/>
                      <a:pt x="33354" y="2116"/>
                    </a:cubicBezTo>
                    <a:cubicBezTo>
                      <a:pt x="33756" y="3727"/>
                      <a:pt x="32951" y="5338"/>
                      <a:pt x="31339" y="5741"/>
                    </a:cubicBezTo>
                    <a:cubicBezTo>
                      <a:pt x="22072" y="8560"/>
                      <a:pt x="12806" y="11782"/>
                      <a:pt x="3942" y="15810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3" name="Forme libre 482">
                <a:extLst>
                  <a:ext uri="{FF2B5EF4-FFF2-40B4-BE49-F238E27FC236}">
                    <a16:creationId xmlns:a16="http://schemas.microsoft.com/office/drawing/2014/main" id="{3D0CAA5E-E0CD-3A42-9500-02B1E0AA2C4D}"/>
                  </a:ext>
                </a:extLst>
              </p:cNvPr>
              <p:cNvSpPr/>
              <p:nvPr/>
            </p:nvSpPr>
            <p:spPr>
              <a:xfrm>
                <a:off x="826268" y="2716107"/>
                <a:ext cx="9344" cy="34792"/>
              </a:xfrm>
              <a:custGeom>
                <a:avLst/>
                <a:gdLst>
                  <a:gd name="connsiteX0" fmla="*/ 2820 w 9344"/>
                  <a:gd name="connsiteY0" fmla="*/ 34714 h 34792"/>
                  <a:gd name="connsiteX1" fmla="*/ 1209 w 9344"/>
                  <a:gd name="connsiteY1" fmla="*/ 34311 h 34792"/>
                  <a:gd name="connsiteX2" fmla="*/ 0 w 9344"/>
                  <a:gd name="connsiteY2" fmla="*/ 31492 h 34792"/>
                  <a:gd name="connsiteX3" fmla="*/ 403 w 9344"/>
                  <a:gd name="connsiteY3" fmla="*/ 27867 h 34792"/>
                  <a:gd name="connsiteX4" fmla="*/ 3626 w 9344"/>
                  <a:gd name="connsiteY4" fmla="*/ 2495 h 34792"/>
                  <a:gd name="connsiteX5" fmla="*/ 6849 w 9344"/>
                  <a:gd name="connsiteY5" fmla="*/ 78 h 34792"/>
                  <a:gd name="connsiteX6" fmla="*/ 9267 w 9344"/>
                  <a:gd name="connsiteY6" fmla="*/ 3300 h 34792"/>
                  <a:gd name="connsiteX7" fmla="*/ 6043 w 9344"/>
                  <a:gd name="connsiteY7" fmla="*/ 28673 h 34792"/>
                  <a:gd name="connsiteX8" fmla="*/ 5641 w 9344"/>
                  <a:gd name="connsiteY8" fmla="*/ 32298 h 34792"/>
                  <a:gd name="connsiteX9" fmla="*/ 2820 w 9344"/>
                  <a:gd name="connsiteY9" fmla="*/ 34714 h 34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344" h="34792">
                    <a:moveTo>
                      <a:pt x="2820" y="34714"/>
                    </a:moveTo>
                    <a:cubicBezTo>
                      <a:pt x="2417" y="34714"/>
                      <a:pt x="1612" y="34311"/>
                      <a:pt x="1209" y="34311"/>
                    </a:cubicBezTo>
                    <a:cubicBezTo>
                      <a:pt x="403" y="33909"/>
                      <a:pt x="0" y="32700"/>
                      <a:pt x="0" y="31492"/>
                    </a:cubicBezTo>
                    <a:lnTo>
                      <a:pt x="403" y="27867"/>
                    </a:lnTo>
                    <a:cubicBezTo>
                      <a:pt x="1209" y="19410"/>
                      <a:pt x="2417" y="10952"/>
                      <a:pt x="3626" y="2495"/>
                    </a:cubicBezTo>
                    <a:cubicBezTo>
                      <a:pt x="4029" y="884"/>
                      <a:pt x="5238" y="-325"/>
                      <a:pt x="6849" y="78"/>
                    </a:cubicBezTo>
                    <a:cubicBezTo>
                      <a:pt x="8461" y="481"/>
                      <a:pt x="9670" y="1689"/>
                      <a:pt x="9267" y="3300"/>
                    </a:cubicBezTo>
                    <a:cubicBezTo>
                      <a:pt x="8058" y="11758"/>
                      <a:pt x="7252" y="20215"/>
                      <a:pt x="6043" y="28673"/>
                    </a:cubicBezTo>
                    <a:lnTo>
                      <a:pt x="5641" y="32298"/>
                    </a:lnTo>
                    <a:cubicBezTo>
                      <a:pt x="5641" y="33909"/>
                      <a:pt x="4432" y="35117"/>
                      <a:pt x="2820" y="34714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4" name="Forme libre 483">
                <a:extLst>
                  <a:ext uri="{FF2B5EF4-FFF2-40B4-BE49-F238E27FC236}">
                    <a16:creationId xmlns:a16="http://schemas.microsoft.com/office/drawing/2014/main" id="{EDB05657-3D84-D644-B283-3936FFBFF82E}"/>
                  </a:ext>
                </a:extLst>
              </p:cNvPr>
              <p:cNvSpPr/>
              <p:nvPr/>
            </p:nvSpPr>
            <p:spPr>
              <a:xfrm>
                <a:off x="928477" y="2528104"/>
                <a:ext cx="31149" cy="21546"/>
              </a:xfrm>
              <a:custGeom>
                <a:avLst/>
                <a:gdLst>
                  <a:gd name="connsiteX0" fmla="*/ 4961 w 31149"/>
                  <a:gd name="connsiteY0" fmla="*/ 20943 h 21546"/>
                  <a:gd name="connsiteX1" fmla="*/ 1335 w 31149"/>
                  <a:gd name="connsiteY1" fmla="*/ 20943 h 21546"/>
                  <a:gd name="connsiteX2" fmla="*/ 529 w 31149"/>
                  <a:gd name="connsiteY2" fmla="*/ 20137 h 21546"/>
                  <a:gd name="connsiteX3" fmla="*/ 1335 w 31149"/>
                  <a:gd name="connsiteY3" fmla="*/ 16110 h 21546"/>
                  <a:gd name="connsiteX4" fmla="*/ 26717 w 31149"/>
                  <a:gd name="connsiteY4" fmla="*/ 403 h 21546"/>
                  <a:gd name="connsiteX5" fmla="*/ 30746 w 31149"/>
                  <a:gd name="connsiteY5" fmla="*/ 1611 h 21546"/>
                  <a:gd name="connsiteX6" fmla="*/ 29538 w 31149"/>
                  <a:gd name="connsiteY6" fmla="*/ 5638 h 21546"/>
                  <a:gd name="connsiteX7" fmla="*/ 4961 w 31149"/>
                  <a:gd name="connsiteY7" fmla="*/ 20943 h 21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149" h="21546">
                    <a:moveTo>
                      <a:pt x="4961" y="20943"/>
                    </a:moveTo>
                    <a:cubicBezTo>
                      <a:pt x="3752" y="21748"/>
                      <a:pt x="2544" y="21748"/>
                      <a:pt x="1335" y="20943"/>
                    </a:cubicBezTo>
                    <a:cubicBezTo>
                      <a:pt x="932" y="20943"/>
                      <a:pt x="932" y="20540"/>
                      <a:pt x="529" y="20137"/>
                    </a:cubicBezTo>
                    <a:cubicBezTo>
                      <a:pt x="-276" y="18929"/>
                      <a:pt x="-276" y="16915"/>
                      <a:pt x="1335" y="16110"/>
                    </a:cubicBezTo>
                    <a:cubicBezTo>
                      <a:pt x="9393" y="10471"/>
                      <a:pt x="17854" y="5236"/>
                      <a:pt x="26717" y="403"/>
                    </a:cubicBezTo>
                    <a:cubicBezTo>
                      <a:pt x="28329" y="-403"/>
                      <a:pt x="29941" y="0"/>
                      <a:pt x="30746" y="1611"/>
                    </a:cubicBezTo>
                    <a:cubicBezTo>
                      <a:pt x="31552" y="3222"/>
                      <a:pt x="31149" y="4833"/>
                      <a:pt x="29538" y="5638"/>
                    </a:cubicBezTo>
                    <a:cubicBezTo>
                      <a:pt x="21077" y="10069"/>
                      <a:pt x="12616" y="15304"/>
                      <a:pt x="4961" y="20943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5" name="Forme libre 484">
                <a:extLst>
                  <a:ext uri="{FF2B5EF4-FFF2-40B4-BE49-F238E27FC236}">
                    <a16:creationId xmlns:a16="http://schemas.microsoft.com/office/drawing/2014/main" id="{BD0A58F5-4333-464B-B5E7-8696F606897F}"/>
                  </a:ext>
                </a:extLst>
              </p:cNvPr>
              <p:cNvSpPr/>
              <p:nvPr/>
            </p:nvSpPr>
            <p:spPr>
              <a:xfrm>
                <a:off x="819821" y="2762500"/>
                <a:ext cx="10150" cy="34713"/>
              </a:xfrm>
              <a:custGeom>
                <a:avLst/>
                <a:gdLst>
                  <a:gd name="connsiteX0" fmla="*/ 7655 w 10150"/>
                  <a:gd name="connsiteY0" fmla="*/ 0 h 34713"/>
                  <a:gd name="connsiteX1" fmla="*/ 10072 w 10150"/>
                  <a:gd name="connsiteY1" fmla="*/ 3222 h 34713"/>
                  <a:gd name="connsiteX2" fmla="*/ 5641 w 10150"/>
                  <a:gd name="connsiteY2" fmla="*/ 32219 h 34713"/>
                  <a:gd name="connsiteX3" fmla="*/ 2417 w 10150"/>
                  <a:gd name="connsiteY3" fmla="*/ 34636 h 34713"/>
                  <a:gd name="connsiteX4" fmla="*/ 1209 w 10150"/>
                  <a:gd name="connsiteY4" fmla="*/ 34233 h 34713"/>
                  <a:gd name="connsiteX5" fmla="*/ 0 w 10150"/>
                  <a:gd name="connsiteY5" fmla="*/ 31414 h 34713"/>
                  <a:gd name="connsiteX6" fmla="*/ 4432 w 10150"/>
                  <a:gd name="connsiteY6" fmla="*/ 2416 h 34713"/>
                  <a:gd name="connsiteX7" fmla="*/ 7655 w 10150"/>
                  <a:gd name="connsiteY7" fmla="*/ 0 h 34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50" h="34713">
                    <a:moveTo>
                      <a:pt x="7655" y="0"/>
                    </a:moveTo>
                    <a:cubicBezTo>
                      <a:pt x="9267" y="403"/>
                      <a:pt x="10475" y="1611"/>
                      <a:pt x="10072" y="3222"/>
                    </a:cubicBezTo>
                    <a:cubicBezTo>
                      <a:pt x="8461" y="14499"/>
                      <a:pt x="7252" y="23762"/>
                      <a:pt x="5641" y="32219"/>
                    </a:cubicBezTo>
                    <a:cubicBezTo>
                      <a:pt x="5238" y="33830"/>
                      <a:pt x="3626" y="35039"/>
                      <a:pt x="2417" y="34636"/>
                    </a:cubicBezTo>
                    <a:cubicBezTo>
                      <a:pt x="2014" y="34636"/>
                      <a:pt x="1612" y="34233"/>
                      <a:pt x="1209" y="34233"/>
                    </a:cubicBezTo>
                    <a:cubicBezTo>
                      <a:pt x="403" y="33428"/>
                      <a:pt x="0" y="32622"/>
                      <a:pt x="0" y="31414"/>
                    </a:cubicBezTo>
                    <a:cubicBezTo>
                      <a:pt x="1612" y="22956"/>
                      <a:pt x="2820" y="14096"/>
                      <a:pt x="4432" y="2416"/>
                    </a:cubicBezTo>
                    <a:cubicBezTo>
                      <a:pt x="4835" y="805"/>
                      <a:pt x="6043" y="0"/>
                      <a:pt x="7655" y="0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6" name="Forme libre 485">
                <a:extLst>
                  <a:ext uri="{FF2B5EF4-FFF2-40B4-BE49-F238E27FC236}">
                    <a16:creationId xmlns:a16="http://schemas.microsoft.com/office/drawing/2014/main" id="{105B6C22-4C8B-F841-A0FC-09B1540CE48A}"/>
                  </a:ext>
                </a:extLst>
              </p:cNvPr>
              <p:cNvSpPr/>
              <p:nvPr/>
            </p:nvSpPr>
            <p:spPr>
              <a:xfrm>
                <a:off x="660275" y="2932380"/>
                <a:ext cx="35129" cy="9743"/>
              </a:xfrm>
              <a:custGeom>
                <a:avLst/>
                <a:gdLst>
                  <a:gd name="connsiteX0" fmla="*/ 31426 w 35129"/>
                  <a:gd name="connsiteY0" fmla="*/ 78 h 9743"/>
                  <a:gd name="connsiteX1" fmla="*/ 35052 w 35129"/>
                  <a:gd name="connsiteY1" fmla="*/ 2495 h 9743"/>
                  <a:gd name="connsiteX2" fmla="*/ 32635 w 35129"/>
                  <a:gd name="connsiteY2" fmla="*/ 6119 h 9743"/>
                  <a:gd name="connsiteX3" fmla="*/ 3223 w 35129"/>
                  <a:gd name="connsiteY3" fmla="*/ 9744 h 9743"/>
                  <a:gd name="connsiteX4" fmla="*/ 1209 w 35129"/>
                  <a:gd name="connsiteY4" fmla="*/ 9341 h 9743"/>
                  <a:gd name="connsiteX5" fmla="*/ 0 w 35129"/>
                  <a:gd name="connsiteY5" fmla="*/ 7328 h 9743"/>
                  <a:gd name="connsiteX6" fmla="*/ 2820 w 35129"/>
                  <a:gd name="connsiteY6" fmla="*/ 4105 h 9743"/>
                  <a:gd name="connsiteX7" fmla="*/ 31426 w 35129"/>
                  <a:gd name="connsiteY7" fmla="*/ 78 h 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129" h="9743">
                    <a:moveTo>
                      <a:pt x="31426" y="78"/>
                    </a:moveTo>
                    <a:cubicBezTo>
                      <a:pt x="33037" y="-325"/>
                      <a:pt x="34649" y="884"/>
                      <a:pt x="35052" y="2495"/>
                    </a:cubicBezTo>
                    <a:cubicBezTo>
                      <a:pt x="35455" y="4105"/>
                      <a:pt x="34246" y="5716"/>
                      <a:pt x="32635" y="6119"/>
                    </a:cubicBezTo>
                    <a:cubicBezTo>
                      <a:pt x="23368" y="8133"/>
                      <a:pt x="13698" y="9341"/>
                      <a:pt x="3223" y="9744"/>
                    </a:cubicBezTo>
                    <a:cubicBezTo>
                      <a:pt x="2417" y="9744"/>
                      <a:pt x="2014" y="9744"/>
                      <a:pt x="1209" y="9341"/>
                    </a:cubicBezTo>
                    <a:cubicBezTo>
                      <a:pt x="403" y="8938"/>
                      <a:pt x="0" y="8133"/>
                      <a:pt x="0" y="7328"/>
                    </a:cubicBezTo>
                    <a:cubicBezTo>
                      <a:pt x="0" y="5716"/>
                      <a:pt x="1209" y="4508"/>
                      <a:pt x="2820" y="4105"/>
                    </a:cubicBezTo>
                    <a:cubicBezTo>
                      <a:pt x="12893" y="2897"/>
                      <a:pt x="22562" y="1689"/>
                      <a:pt x="31426" y="78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7" name="Forme libre 486">
                <a:extLst>
                  <a:ext uri="{FF2B5EF4-FFF2-40B4-BE49-F238E27FC236}">
                    <a16:creationId xmlns:a16="http://schemas.microsoft.com/office/drawing/2014/main" id="{871CC189-01CE-D94A-88E1-B43784733B5C}"/>
                  </a:ext>
                </a:extLst>
              </p:cNvPr>
              <p:cNvSpPr/>
              <p:nvPr/>
            </p:nvSpPr>
            <p:spPr>
              <a:xfrm>
                <a:off x="832714" y="2669790"/>
                <a:ext cx="11786" cy="34390"/>
              </a:xfrm>
              <a:custGeom>
                <a:avLst/>
                <a:gdLst>
                  <a:gd name="connsiteX0" fmla="*/ 9670 w 11786"/>
                  <a:gd name="connsiteY0" fmla="*/ 79 h 34390"/>
                  <a:gd name="connsiteX1" fmla="*/ 11684 w 11786"/>
                  <a:gd name="connsiteY1" fmla="*/ 3704 h 34390"/>
                  <a:gd name="connsiteX2" fmla="*/ 5641 w 11786"/>
                  <a:gd name="connsiteY2" fmla="*/ 31896 h 34390"/>
                  <a:gd name="connsiteX3" fmla="*/ 2417 w 11786"/>
                  <a:gd name="connsiteY3" fmla="*/ 34312 h 34390"/>
                  <a:gd name="connsiteX4" fmla="*/ 1209 w 11786"/>
                  <a:gd name="connsiteY4" fmla="*/ 33909 h 34390"/>
                  <a:gd name="connsiteX5" fmla="*/ 0 w 11786"/>
                  <a:gd name="connsiteY5" fmla="*/ 31090 h 34390"/>
                  <a:gd name="connsiteX6" fmla="*/ 6043 w 11786"/>
                  <a:gd name="connsiteY6" fmla="*/ 2093 h 34390"/>
                  <a:gd name="connsiteX7" fmla="*/ 9670 w 11786"/>
                  <a:gd name="connsiteY7" fmla="*/ 79 h 34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86" h="34390">
                    <a:moveTo>
                      <a:pt x="9670" y="79"/>
                    </a:moveTo>
                    <a:cubicBezTo>
                      <a:pt x="11281" y="482"/>
                      <a:pt x="12087" y="2093"/>
                      <a:pt x="11684" y="3704"/>
                    </a:cubicBezTo>
                    <a:cubicBezTo>
                      <a:pt x="9267" y="12161"/>
                      <a:pt x="7252" y="21424"/>
                      <a:pt x="5641" y="31896"/>
                    </a:cubicBezTo>
                    <a:cubicBezTo>
                      <a:pt x="5238" y="33507"/>
                      <a:pt x="4029" y="34715"/>
                      <a:pt x="2417" y="34312"/>
                    </a:cubicBezTo>
                    <a:cubicBezTo>
                      <a:pt x="2014" y="34312"/>
                      <a:pt x="1612" y="33909"/>
                      <a:pt x="1209" y="33909"/>
                    </a:cubicBezTo>
                    <a:cubicBezTo>
                      <a:pt x="403" y="33104"/>
                      <a:pt x="0" y="32298"/>
                      <a:pt x="0" y="31090"/>
                    </a:cubicBezTo>
                    <a:cubicBezTo>
                      <a:pt x="1612" y="20619"/>
                      <a:pt x="3626" y="10953"/>
                      <a:pt x="6043" y="2093"/>
                    </a:cubicBezTo>
                    <a:cubicBezTo>
                      <a:pt x="6446" y="884"/>
                      <a:pt x="8058" y="-324"/>
                      <a:pt x="9670" y="79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88" name="Forme libre 487">
                <a:extLst>
                  <a:ext uri="{FF2B5EF4-FFF2-40B4-BE49-F238E27FC236}">
                    <a16:creationId xmlns:a16="http://schemas.microsoft.com/office/drawing/2014/main" id="{CF494CFD-5199-6A4E-8BF3-87413748F80B}"/>
                  </a:ext>
                </a:extLst>
              </p:cNvPr>
              <p:cNvSpPr/>
              <p:nvPr/>
            </p:nvSpPr>
            <p:spPr>
              <a:xfrm>
                <a:off x="1013939" y="2501925"/>
                <a:ext cx="35130" cy="10068"/>
              </a:xfrm>
              <a:custGeom>
                <a:avLst/>
                <a:gdLst>
                  <a:gd name="connsiteX0" fmla="*/ 21432 w 35130"/>
                  <a:gd name="connsiteY0" fmla="*/ 805 h 10068"/>
                  <a:gd name="connsiteX1" fmla="*/ 31907 w 35130"/>
                  <a:gd name="connsiteY1" fmla="*/ 0 h 10068"/>
                  <a:gd name="connsiteX2" fmla="*/ 35130 w 35130"/>
                  <a:gd name="connsiteY2" fmla="*/ 2819 h 10068"/>
                  <a:gd name="connsiteX3" fmla="*/ 32310 w 35130"/>
                  <a:gd name="connsiteY3" fmla="*/ 6041 h 10068"/>
                  <a:gd name="connsiteX4" fmla="*/ 22237 w 35130"/>
                  <a:gd name="connsiteY4" fmla="*/ 6847 h 10068"/>
                  <a:gd name="connsiteX5" fmla="*/ 3704 w 35130"/>
                  <a:gd name="connsiteY5" fmla="*/ 10069 h 10068"/>
                  <a:gd name="connsiteX6" fmla="*/ 1287 w 35130"/>
                  <a:gd name="connsiteY6" fmla="*/ 9666 h 10068"/>
                  <a:gd name="connsiteX7" fmla="*/ 78 w 35130"/>
                  <a:gd name="connsiteY7" fmla="*/ 8055 h 10068"/>
                  <a:gd name="connsiteX8" fmla="*/ 2495 w 35130"/>
                  <a:gd name="connsiteY8" fmla="*/ 4430 h 10068"/>
                  <a:gd name="connsiteX9" fmla="*/ 21432 w 35130"/>
                  <a:gd name="connsiteY9" fmla="*/ 805 h 10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130" h="10068">
                    <a:moveTo>
                      <a:pt x="21432" y="805"/>
                    </a:moveTo>
                    <a:cubicBezTo>
                      <a:pt x="24655" y="403"/>
                      <a:pt x="28281" y="0"/>
                      <a:pt x="31907" y="0"/>
                    </a:cubicBezTo>
                    <a:cubicBezTo>
                      <a:pt x="33518" y="0"/>
                      <a:pt x="34727" y="1208"/>
                      <a:pt x="35130" y="2819"/>
                    </a:cubicBezTo>
                    <a:cubicBezTo>
                      <a:pt x="35130" y="4430"/>
                      <a:pt x="33921" y="6041"/>
                      <a:pt x="32310" y="6041"/>
                    </a:cubicBezTo>
                    <a:cubicBezTo>
                      <a:pt x="29087" y="6444"/>
                      <a:pt x="25460" y="6444"/>
                      <a:pt x="22237" y="6847"/>
                    </a:cubicBezTo>
                    <a:cubicBezTo>
                      <a:pt x="16194" y="7652"/>
                      <a:pt x="9748" y="8458"/>
                      <a:pt x="3704" y="10069"/>
                    </a:cubicBezTo>
                    <a:cubicBezTo>
                      <a:pt x="2898" y="10069"/>
                      <a:pt x="2093" y="10069"/>
                      <a:pt x="1287" y="9666"/>
                    </a:cubicBezTo>
                    <a:cubicBezTo>
                      <a:pt x="884" y="9263"/>
                      <a:pt x="481" y="8458"/>
                      <a:pt x="78" y="8055"/>
                    </a:cubicBezTo>
                    <a:cubicBezTo>
                      <a:pt x="-325" y="6444"/>
                      <a:pt x="884" y="4833"/>
                      <a:pt x="2495" y="4430"/>
                    </a:cubicBezTo>
                    <a:cubicBezTo>
                      <a:pt x="8539" y="2819"/>
                      <a:pt x="14985" y="1611"/>
                      <a:pt x="21432" y="805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grpSp>
        <p:nvGrpSpPr>
          <p:cNvPr id="491" name="Groupe 490">
            <a:extLst>
              <a:ext uri="{FF2B5EF4-FFF2-40B4-BE49-F238E27FC236}">
                <a16:creationId xmlns:a16="http://schemas.microsoft.com/office/drawing/2014/main" id="{AB092FED-71A8-7A4F-9FB2-A08A05B2DF80}"/>
              </a:ext>
            </a:extLst>
          </p:cNvPr>
          <p:cNvGrpSpPr/>
          <p:nvPr userDrawn="1"/>
        </p:nvGrpSpPr>
        <p:grpSpPr>
          <a:xfrm>
            <a:off x="2967929" y="3218211"/>
            <a:ext cx="2147565" cy="2794643"/>
            <a:chOff x="2967929" y="3218211"/>
            <a:chExt cx="2147565" cy="2794643"/>
          </a:xfrm>
        </p:grpSpPr>
        <p:grpSp>
          <p:nvGrpSpPr>
            <p:cNvPr id="393" name="Illustration">
              <a:extLst>
                <a:ext uri="{FF2B5EF4-FFF2-40B4-BE49-F238E27FC236}">
                  <a16:creationId xmlns:a16="http://schemas.microsoft.com/office/drawing/2014/main" id="{001A2938-9B11-C34A-B1F1-7C7669C2841F}"/>
                </a:ext>
              </a:extLst>
            </p:cNvPr>
            <p:cNvGrpSpPr/>
            <p:nvPr/>
          </p:nvGrpSpPr>
          <p:grpSpPr>
            <a:xfrm>
              <a:off x="3751508" y="3218211"/>
              <a:ext cx="1363986" cy="2794643"/>
              <a:chOff x="3751508" y="3218211"/>
              <a:chExt cx="1363986" cy="2794643"/>
            </a:xfrm>
          </p:grpSpPr>
          <p:sp>
            <p:nvSpPr>
              <p:cNvPr id="394" name="Forme libre 393">
                <a:extLst>
                  <a:ext uri="{FF2B5EF4-FFF2-40B4-BE49-F238E27FC236}">
                    <a16:creationId xmlns:a16="http://schemas.microsoft.com/office/drawing/2014/main" id="{FFB60AD7-AA95-C848-B25B-DDD0405DD6A0}"/>
                  </a:ext>
                </a:extLst>
              </p:cNvPr>
              <p:cNvSpPr/>
              <p:nvPr/>
            </p:nvSpPr>
            <p:spPr>
              <a:xfrm>
                <a:off x="4287947" y="5828182"/>
                <a:ext cx="244915" cy="88200"/>
              </a:xfrm>
              <a:custGeom>
                <a:avLst/>
                <a:gdLst>
                  <a:gd name="connsiteX0" fmla="*/ 165590 w 244915"/>
                  <a:gd name="connsiteY0" fmla="*/ 0 h 88200"/>
                  <a:gd name="connsiteX1" fmla="*/ 39887 w 244915"/>
                  <a:gd name="connsiteY1" fmla="*/ 57995 h 88200"/>
                  <a:gd name="connsiteX2" fmla="*/ 0 w 244915"/>
                  <a:gd name="connsiteY2" fmla="*/ 88201 h 88200"/>
                  <a:gd name="connsiteX3" fmla="*/ 105962 w 244915"/>
                  <a:gd name="connsiteY3" fmla="*/ 88201 h 88200"/>
                  <a:gd name="connsiteX4" fmla="*/ 194196 w 244915"/>
                  <a:gd name="connsiteY4" fmla="*/ 72896 h 88200"/>
                  <a:gd name="connsiteX5" fmla="*/ 194196 w 244915"/>
                  <a:gd name="connsiteY5" fmla="*/ 88201 h 88200"/>
                  <a:gd name="connsiteX6" fmla="*/ 241737 w 244915"/>
                  <a:gd name="connsiteY6" fmla="*/ 88201 h 88200"/>
                  <a:gd name="connsiteX7" fmla="*/ 227233 w 244915"/>
                  <a:gd name="connsiteY7" fmla="*/ 403 h 88200"/>
                  <a:gd name="connsiteX8" fmla="*/ 165590 w 244915"/>
                  <a:gd name="connsiteY8" fmla="*/ 403 h 8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4915" h="88200">
                    <a:moveTo>
                      <a:pt x="165590" y="0"/>
                    </a:moveTo>
                    <a:cubicBezTo>
                      <a:pt x="165590" y="0"/>
                      <a:pt x="127315" y="35441"/>
                      <a:pt x="39887" y="57995"/>
                    </a:cubicBezTo>
                    <a:cubicBezTo>
                      <a:pt x="20548" y="62828"/>
                      <a:pt x="0" y="56384"/>
                      <a:pt x="0" y="88201"/>
                    </a:cubicBezTo>
                    <a:lnTo>
                      <a:pt x="105962" y="88201"/>
                    </a:lnTo>
                    <a:lnTo>
                      <a:pt x="194196" y="72896"/>
                    </a:lnTo>
                    <a:lnTo>
                      <a:pt x="194196" y="88201"/>
                    </a:lnTo>
                    <a:lnTo>
                      <a:pt x="241737" y="88201"/>
                    </a:lnTo>
                    <a:cubicBezTo>
                      <a:pt x="241737" y="88201"/>
                      <a:pt x="255033" y="10471"/>
                      <a:pt x="227233" y="403"/>
                    </a:cubicBezTo>
                    <a:lnTo>
                      <a:pt x="165590" y="403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5" name="Forme libre 394">
                <a:extLst>
                  <a:ext uri="{FF2B5EF4-FFF2-40B4-BE49-F238E27FC236}">
                    <a16:creationId xmlns:a16="http://schemas.microsoft.com/office/drawing/2014/main" id="{96789B50-FE22-AB4E-9A82-5FC393D412A1}"/>
                  </a:ext>
                </a:extLst>
              </p:cNvPr>
              <p:cNvSpPr/>
              <p:nvPr/>
            </p:nvSpPr>
            <p:spPr>
              <a:xfrm>
                <a:off x="4453537" y="5772201"/>
                <a:ext cx="81384" cy="65629"/>
              </a:xfrm>
              <a:custGeom>
                <a:avLst/>
                <a:gdLst>
                  <a:gd name="connsiteX0" fmla="*/ 5237 w 81384"/>
                  <a:gd name="connsiteY0" fmla="*/ 0 h 65629"/>
                  <a:gd name="connsiteX1" fmla="*/ 0 w 81384"/>
                  <a:gd name="connsiteY1" fmla="*/ 55981 h 65629"/>
                  <a:gd name="connsiteX2" fmla="*/ 58420 w 81384"/>
                  <a:gd name="connsiteY2" fmla="*/ 57995 h 65629"/>
                  <a:gd name="connsiteX3" fmla="*/ 61643 w 81384"/>
                  <a:gd name="connsiteY3" fmla="*/ 55981 h 65629"/>
                  <a:gd name="connsiteX4" fmla="*/ 81385 w 81384"/>
                  <a:gd name="connsiteY4" fmla="*/ 0 h 65629"/>
                  <a:gd name="connsiteX5" fmla="*/ 5237 w 81384"/>
                  <a:gd name="connsiteY5" fmla="*/ 0 h 6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384" h="65629">
                    <a:moveTo>
                      <a:pt x="5237" y="0"/>
                    </a:moveTo>
                    <a:lnTo>
                      <a:pt x="0" y="55981"/>
                    </a:lnTo>
                    <a:cubicBezTo>
                      <a:pt x="17324" y="68064"/>
                      <a:pt x="40290" y="68869"/>
                      <a:pt x="58420" y="57995"/>
                    </a:cubicBezTo>
                    <a:lnTo>
                      <a:pt x="61643" y="55981"/>
                    </a:lnTo>
                    <a:lnTo>
                      <a:pt x="81385" y="0"/>
                    </a:lnTo>
                    <a:lnTo>
                      <a:pt x="5237" y="0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6" name="Forme libre 395">
                <a:extLst>
                  <a:ext uri="{FF2B5EF4-FFF2-40B4-BE49-F238E27FC236}">
                    <a16:creationId xmlns:a16="http://schemas.microsoft.com/office/drawing/2014/main" id="{0A177942-3C35-164B-B8C0-06B2AB8FF9CB}"/>
                  </a:ext>
                </a:extLst>
              </p:cNvPr>
              <p:cNvSpPr/>
              <p:nvPr/>
            </p:nvSpPr>
            <p:spPr>
              <a:xfrm>
                <a:off x="4711793" y="5828182"/>
                <a:ext cx="244915" cy="88200"/>
              </a:xfrm>
              <a:custGeom>
                <a:avLst/>
                <a:gdLst>
                  <a:gd name="connsiteX0" fmla="*/ 165590 w 244915"/>
                  <a:gd name="connsiteY0" fmla="*/ 0 h 88200"/>
                  <a:gd name="connsiteX1" fmla="*/ 39887 w 244915"/>
                  <a:gd name="connsiteY1" fmla="*/ 57995 h 88200"/>
                  <a:gd name="connsiteX2" fmla="*/ 0 w 244915"/>
                  <a:gd name="connsiteY2" fmla="*/ 88201 h 88200"/>
                  <a:gd name="connsiteX3" fmla="*/ 105961 w 244915"/>
                  <a:gd name="connsiteY3" fmla="*/ 88201 h 88200"/>
                  <a:gd name="connsiteX4" fmla="*/ 194196 w 244915"/>
                  <a:gd name="connsiteY4" fmla="*/ 72896 h 88200"/>
                  <a:gd name="connsiteX5" fmla="*/ 194196 w 244915"/>
                  <a:gd name="connsiteY5" fmla="*/ 88201 h 88200"/>
                  <a:gd name="connsiteX6" fmla="*/ 241737 w 244915"/>
                  <a:gd name="connsiteY6" fmla="*/ 88201 h 88200"/>
                  <a:gd name="connsiteX7" fmla="*/ 227233 w 244915"/>
                  <a:gd name="connsiteY7" fmla="*/ 403 h 88200"/>
                  <a:gd name="connsiteX8" fmla="*/ 165590 w 244915"/>
                  <a:gd name="connsiteY8" fmla="*/ 403 h 8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4915" h="88200">
                    <a:moveTo>
                      <a:pt x="165590" y="0"/>
                    </a:moveTo>
                    <a:cubicBezTo>
                      <a:pt x="165590" y="0"/>
                      <a:pt x="127315" y="35441"/>
                      <a:pt x="39887" y="57995"/>
                    </a:cubicBezTo>
                    <a:cubicBezTo>
                      <a:pt x="20548" y="62828"/>
                      <a:pt x="0" y="56384"/>
                      <a:pt x="0" y="88201"/>
                    </a:cubicBezTo>
                    <a:lnTo>
                      <a:pt x="105961" y="88201"/>
                    </a:lnTo>
                    <a:lnTo>
                      <a:pt x="194196" y="72896"/>
                    </a:lnTo>
                    <a:lnTo>
                      <a:pt x="194196" y="88201"/>
                    </a:lnTo>
                    <a:lnTo>
                      <a:pt x="241737" y="88201"/>
                    </a:lnTo>
                    <a:cubicBezTo>
                      <a:pt x="241737" y="88201"/>
                      <a:pt x="255033" y="10471"/>
                      <a:pt x="227233" y="403"/>
                    </a:cubicBezTo>
                    <a:lnTo>
                      <a:pt x="165590" y="403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7" name="Forme libre 396">
                <a:extLst>
                  <a:ext uri="{FF2B5EF4-FFF2-40B4-BE49-F238E27FC236}">
                    <a16:creationId xmlns:a16="http://schemas.microsoft.com/office/drawing/2014/main" id="{180E0213-0C6D-584A-9D42-351FCC48ACF6}"/>
                  </a:ext>
                </a:extLst>
              </p:cNvPr>
              <p:cNvSpPr/>
              <p:nvPr/>
            </p:nvSpPr>
            <p:spPr>
              <a:xfrm>
                <a:off x="4877383" y="5772201"/>
                <a:ext cx="81384" cy="65629"/>
              </a:xfrm>
              <a:custGeom>
                <a:avLst/>
                <a:gdLst>
                  <a:gd name="connsiteX0" fmla="*/ 5238 w 81384"/>
                  <a:gd name="connsiteY0" fmla="*/ 0 h 65629"/>
                  <a:gd name="connsiteX1" fmla="*/ 0 w 81384"/>
                  <a:gd name="connsiteY1" fmla="*/ 55981 h 65629"/>
                  <a:gd name="connsiteX2" fmla="*/ 58420 w 81384"/>
                  <a:gd name="connsiteY2" fmla="*/ 57995 h 65629"/>
                  <a:gd name="connsiteX3" fmla="*/ 61643 w 81384"/>
                  <a:gd name="connsiteY3" fmla="*/ 55981 h 65629"/>
                  <a:gd name="connsiteX4" fmla="*/ 81385 w 81384"/>
                  <a:gd name="connsiteY4" fmla="*/ 0 h 65629"/>
                  <a:gd name="connsiteX5" fmla="*/ 5238 w 81384"/>
                  <a:gd name="connsiteY5" fmla="*/ 0 h 65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1384" h="65629">
                    <a:moveTo>
                      <a:pt x="5238" y="0"/>
                    </a:moveTo>
                    <a:lnTo>
                      <a:pt x="0" y="55981"/>
                    </a:lnTo>
                    <a:cubicBezTo>
                      <a:pt x="17325" y="68064"/>
                      <a:pt x="40290" y="68869"/>
                      <a:pt x="58420" y="57995"/>
                    </a:cubicBezTo>
                    <a:lnTo>
                      <a:pt x="61643" y="55981"/>
                    </a:lnTo>
                    <a:lnTo>
                      <a:pt x="81385" y="0"/>
                    </a:lnTo>
                    <a:lnTo>
                      <a:pt x="5238" y="0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8" name="Forme libre 397">
                <a:extLst>
                  <a:ext uri="{FF2B5EF4-FFF2-40B4-BE49-F238E27FC236}">
                    <a16:creationId xmlns:a16="http://schemas.microsoft.com/office/drawing/2014/main" id="{F0FA90A5-2CCB-8745-8C03-95209A9E0F51}"/>
                  </a:ext>
                </a:extLst>
              </p:cNvPr>
              <p:cNvSpPr/>
              <p:nvPr/>
            </p:nvSpPr>
            <p:spPr>
              <a:xfrm>
                <a:off x="4457566" y="4371862"/>
                <a:ext cx="324733" cy="1413628"/>
              </a:xfrm>
              <a:custGeom>
                <a:avLst/>
                <a:gdLst>
                  <a:gd name="connsiteX0" fmla="*/ 164784 w 324733"/>
                  <a:gd name="connsiteY0" fmla="*/ 0 h 1413628"/>
                  <a:gd name="connsiteX1" fmla="*/ 42707 w 324733"/>
                  <a:gd name="connsiteY1" fmla="*/ 0 h 1413628"/>
                  <a:gd name="connsiteX2" fmla="*/ 0 w 324733"/>
                  <a:gd name="connsiteY2" fmla="*/ 1413629 h 1413628"/>
                  <a:gd name="connsiteX3" fmla="*/ 82594 w 324733"/>
                  <a:gd name="connsiteY3" fmla="*/ 1413629 h 1413628"/>
                  <a:gd name="connsiteX4" fmla="*/ 324734 w 324733"/>
                  <a:gd name="connsiteY4" fmla="*/ 263394 h 141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4733" h="1413628">
                    <a:moveTo>
                      <a:pt x="164784" y="0"/>
                    </a:moveTo>
                    <a:lnTo>
                      <a:pt x="42707" y="0"/>
                    </a:lnTo>
                    <a:lnTo>
                      <a:pt x="0" y="1413629"/>
                    </a:lnTo>
                    <a:lnTo>
                      <a:pt x="82594" y="1413629"/>
                    </a:lnTo>
                    <a:lnTo>
                      <a:pt x="324734" y="263394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99" name="Forme libre 398">
                <a:extLst>
                  <a:ext uri="{FF2B5EF4-FFF2-40B4-BE49-F238E27FC236}">
                    <a16:creationId xmlns:a16="http://schemas.microsoft.com/office/drawing/2014/main" id="{2C13BB00-FF67-294A-8E83-CC80AF2E131F}"/>
                  </a:ext>
                </a:extLst>
              </p:cNvPr>
              <p:cNvSpPr/>
              <p:nvPr/>
            </p:nvSpPr>
            <p:spPr>
              <a:xfrm>
                <a:off x="4582866" y="4371862"/>
                <a:ext cx="375901" cy="1413628"/>
              </a:xfrm>
              <a:custGeom>
                <a:avLst/>
                <a:gdLst>
                  <a:gd name="connsiteX0" fmla="*/ 0 w 375901"/>
                  <a:gd name="connsiteY0" fmla="*/ 0 h 1413628"/>
                  <a:gd name="connsiteX1" fmla="*/ 285250 w 375901"/>
                  <a:gd name="connsiteY1" fmla="*/ 1413629 h 1413628"/>
                  <a:gd name="connsiteX2" fmla="*/ 375901 w 375901"/>
                  <a:gd name="connsiteY2" fmla="*/ 1413629 h 1413628"/>
                  <a:gd name="connsiteX3" fmla="*/ 338835 w 375901"/>
                  <a:gd name="connsiteY3" fmla="*/ 0 h 141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5901" h="1413628">
                    <a:moveTo>
                      <a:pt x="0" y="0"/>
                    </a:moveTo>
                    <a:lnTo>
                      <a:pt x="285250" y="1413629"/>
                    </a:lnTo>
                    <a:lnTo>
                      <a:pt x="375901" y="1413629"/>
                    </a:lnTo>
                    <a:lnTo>
                      <a:pt x="338835" y="0"/>
                    </a:lnTo>
                    <a:close/>
                  </a:path>
                </a:pathLst>
              </a:custGeom>
              <a:solidFill>
                <a:srgbClr val="043C5E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0" name="Forme libre 399">
                <a:extLst>
                  <a:ext uri="{FF2B5EF4-FFF2-40B4-BE49-F238E27FC236}">
                    <a16:creationId xmlns:a16="http://schemas.microsoft.com/office/drawing/2014/main" id="{27C1FEF6-191F-2B4E-9C16-92F2AF537DEA}"/>
                  </a:ext>
                </a:extLst>
              </p:cNvPr>
              <p:cNvSpPr/>
              <p:nvPr/>
            </p:nvSpPr>
            <p:spPr>
              <a:xfrm>
                <a:off x="4819720" y="4643714"/>
                <a:ext cx="182577" cy="77729"/>
              </a:xfrm>
              <a:custGeom>
                <a:avLst/>
                <a:gdLst>
                  <a:gd name="connsiteX0" fmla="*/ 49 w 182577"/>
                  <a:gd name="connsiteY0" fmla="*/ 77729 h 77729"/>
                  <a:gd name="connsiteX1" fmla="*/ 27446 w 182577"/>
                  <a:gd name="connsiteY1" fmla="*/ 75716 h 77729"/>
                  <a:gd name="connsiteX2" fmla="*/ 40339 w 182577"/>
                  <a:gd name="connsiteY2" fmla="*/ 42288 h 77729"/>
                  <a:gd name="connsiteX3" fmla="*/ 90701 w 182577"/>
                  <a:gd name="connsiteY3" fmla="*/ 26178 h 77729"/>
                  <a:gd name="connsiteX4" fmla="*/ 145092 w 182577"/>
                  <a:gd name="connsiteY4" fmla="*/ 42288 h 77729"/>
                  <a:gd name="connsiteX5" fmla="*/ 155164 w 182577"/>
                  <a:gd name="connsiteY5" fmla="*/ 65244 h 77729"/>
                  <a:gd name="connsiteX6" fmla="*/ 182561 w 182577"/>
                  <a:gd name="connsiteY6" fmla="*/ 66856 h 77729"/>
                  <a:gd name="connsiteX7" fmla="*/ 165640 w 182577"/>
                  <a:gd name="connsiteY7" fmla="*/ 24567 h 77729"/>
                  <a:gd name="connsiteX8" fmla="*/ 90701 w 182577"/>
                  <a:gd name="connsiteY8" fmla="*/ 0 h 77729"/>
                  <a:gd name="connsiteX9" fmla="*/ 19791 w 182577"/>
                  <a:gd name="connsiteY9" fmla="*/ 24970 h 77729"/>
                  <a:gd name="connsiteX10" fmla="*/ 49 w 182577"/>
                  <a:gd name="connsiteY10" fmla="*/ 77729 h 77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577" h="77729">
                    <a:moveTo>
                      <a:pt x="49" y="77729"/>
                    </a:moveTo>
                    <a:lnTo>
                      <a:pt x="27446" y="75716"/>
                    </a:lnTo>
                    <a:cubicBezTo>
                      <a:pt x="27446" y="75716"/>
                      <a:pt x="26237" y="56384"/>
                      <a:pt x="40339" y="42288"/>
                    </a:cubicBezTo>
                    <a:cubicBezTo>
                      <a:pt x="50814" y="31414"/>
                      <a:pt x="67736" y="26178"/>
                      <a:pt x="90701" y="26178"/>
                    </a:cubicBezTo>
                    <a:cubicBezTo>
                      <a:pt x="115681" y="26178"/>
                      <a:pt x="134616" y="31817"/>
                      <a:pt x="145092" y="42288"/>
                    </a:cubicBezTo>
                    <a:cubicBezTo>
                      <a:pt x="155567" y="52760"/>
                      <a:pt x="155164" y="64842"/>
                      <a:pt x="155164" y="65244"/>
                    </a:cubicBezTo>
                    <a:lnTo>
                      <a:pt x="182561" y="66856"/>
                    </a:lnTo>
                    <a:cubicBezTo>
                      <a:pt x="182561" y="64439"/>
                      <a:pt x="183770" y="43094"/>
                      <a:pt x="165640" y="24567"/>
                    </a:cubicBezTo>
                    <a:cubicBezTo>
                      <a:pt x="149524" y="8055"/>
                      <a:pt x="124544" y="0"/>
                      <a:pt x="90701" y="0"/>
                    </a:cubicBezTo>
                    <a:cubicBezTo>
                      <a:pt x="59678" y="0"/>
                      <a:pt x="35907" y="8458"/>
                      <a:pt x="19791" y="24970"/>
                    </a:cubicBezTo>
                    <a:cubicBezTo>
                      <a:pt x="-1965" y="47524"/>
                      <a:pt x="49" y="76521"/>
                      <a:pt x="49" y="77729"/>
                    </a:cubicBezTo>
                  </a:path>
                </a:pathLst>
              </a:custGeom>
              <a:solidFill>
                <a:srgbClr val="F7A60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1" name="Forme libre 400">
                <a:extLst>
                  <a:ext uri="{FF2B5EF4-FFF2-40B4-BE49-F238E27FC236}">
                    <a16:creationId xmlns:a16="http://schemas.microsoft.com/office/drawing/2014/main" id="{219567CE-5536-D349-87D9-7401FE746394}"/>
                  </a:ext>
                </a:extLst>
              </p:cNvPr>
              <p:cNvSpPr/>
              <p:nvPr/>
            </p:nvSpPr>
            <p:spPr>
              <a:xfrm>
                <a:off x="4706958" y="4753260"/>
                <a:ext cx="408536" cy="262588"/>
              </a:xfrm>
              <a:custGeom>
                <a:avLst/>
                <a:gdLst>
                  <a:gd name="connsiteX0" fmla="*/ 0 w 408536"/>
                  <a:gd name="connsiteY0" fmla="*/ 0 h 262588"/>
                  <a:gd name="connsiteX1" fmla="*/ 408536 w 408536"/>
                  <a:gd name="connsiteY1" fmla="*/ 0 h 262588"/>
                  <a:gd name="connsiteX2" fmla="*/ 408536 w 408536"/>
                  <a:gd name="connsiteY2" fmla="*/ 262589 h 262588"/>
                  <a:gd name="connsiteX3" fmla="*/ 0 w 408536"/>
                  <a:gd name="connsiteY3" fmla="*/ 262589 h 262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536" h="262588">
                    <a:moveTo>
                      <a:pt x="0" y="0"/>
                    </a:moveTo>
                    <a:lnTo>
                      <a:pt x="408536" y="0"/>
                    </a:lnTo>
                    <a:lnTo>
                      <a:pt x="408536" y="262589"/>
                    </a:lnTo>
                    <a:lnTo>
                      <a:pt x="0" y="262589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2" name="Forme libre 401">
                <a:extLst>
                  <a:ext uri="{FF2B5EF4-FFF2-40B4-BE49-F238E27FC236}">
                    <a16:creationId xmlns:a16="http://schemas.microsoft.com/office/drawing/2014/main" id="{58E82C3A-9970-C740-B4BA-5E82D342E1CB}"/>
                  </a:ext>
                </a:extLst>
              </p:cNvPr>
              <p:cNvSpPr/>
              <p:nvPr/>
            </p:nvSpPr>
            <p:spPr>
              <a:xfrm>
                <a:off x="4706555" y="4841864"/>
                <a:ext cx="408536" cy="240840"/>
              </a:xfrm>
              <a:custGeom>
                <a:avLst/>
                <a:gdLst>
                  <a:gd name="connsiteX0" fmla="*/ 189764 w 408536"/>
                  <a:gd name="connsiteY0" fmla="*/ 88604 h 240840"/>
                  <a:gd name="connsiteX1" fmla="*/ 206686 w 408536"/>
                  <a:gd name="connsiteY1" fmla="*/ 106324 h 240840"/>
                  <a:gd name="connsiteX2" fmla="*/ 223607 w 408536"/>
                  <a:gd name="connsiteY2" fmla="*/ 88604 h 240840"/>
                  <a:gd name="connsiteX3" fmla="*/ 223607 w 408536"/>
                  <a:gd name="connsiteY3" fmla="*/ 33025 h 240840"/>
                  <a:gd name="connsiteX4" fmla="*/ 408536 w 408536"/>
                  <a:gd name="connsiteY4" fmla="*/ 0 h 240840"/>
                  <a:gd name="connsiteX5" fmla="*/ 408536 w 408536"/>
                  <a:gd name="connsiteY5" fmla="*/ 7249 h 240840"/>
                  <a:gd name="connsiteX6" fmla="*/ 408536 w 408536"/>
                  <a:gd name="connsiteY6" fmla="*/ 207413 h 240840"/>
                  <a:gd name="connsiteX7" fmla="*/ 390406 w 408536"/>
                  <a:gd name="connsiteY7" fmla="*/ 240840 h 240840"/>
                  <a:gd name="connsiteX8" fmla="*/ 18130 w 408536"/>
                  <a:gd name="connsiteY8" fmla="*/ 240840 h 240840"/>
                  <a:gd name="connsiteX9" fmla="*/ 0 w 408536"/>
                  <a:gd name="connsiteY9" fmla="*/ 207413 h 240840"/>
                  <a:gd name="connsiteX10" fmla="*/ 0 w 408536"/>
                  <a:gd name="connsiteY10" fmla="*/ 806 h 240840"/>
                  <a:gd name="connsiteX11" fmla="*/ 189361 w 408536"/>
                  <a:gd name="connsiteY11" fmla="*/ 33025 h 240840"/>
                  <a:gd name="connsiteX12" fmla="*/ 189361 w 408536"/>
                  <a:gd name="connsiteY12" fmla="*/ 88604 h 240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08536" h="240840">
                    <a:moveTo>
                      <a:pt x="189764" y="88604"/>
                    </a:moveTo>
                    <a:cubicBezTo>
                      <a:pt x="189764" y="104713"/>
                      <a:pt x="197419" y="106324"/>
                      <a:pt x="206686" y="106324"/>
                    </a:cubicBezTo>
                    <a:cubicBezTo>
                      <a:pt x="215952" y="106324"/>
                      <a:pt x="223607" y="104713"/>
                      <a:pt x="223607" y="88604"/>
                    </a:cubicBezTo>
                    <a:lnTo>
                      <a:pt x="223607" y="33025"/>
                    </a:lnTo>
                    <a:cubicBezTo>
                      <a:pt x="341253" y="20943"/>
                      <a:pt x="408536" y="0"/>
                      <a:pt x="408536" y="0"/>
                    </a:cubicBezTo>
                    <a:lnTo>
                      <a:pt x="408536" y="7249"/>
                    </a:lnTo>
                    <a:lnTo>
                      <a:pt x="408536" y="207413"/>
                    </a:lnTo>
                    <a:cubicBezTo>
                      <a:pt x="408536" y="225939"/>
                      <a:pt x="401284" y="240840"/>
                      <a:pt x="390406" y="240840"/>
                    </a:cubicBezTo>
                    <a:lnTo>
                      <a:pt x="18130" y="240840"/>
                    </a:lnTo>
                    <a:cubicBezTo>
                      <a:pt x="7252" y="240840"/>
                      <a:pt x="0" y="225939"/>
                      <a:pt x="0" y="207413"/>
                    </a:cubicBezTo>
                    <a:lnTo>
                      <a:pt x="0" y="806"/>
                    </a:lnTo>
                    <a:cubicBezTo>
                      <a:pt x="85414" y="20540"/>
                      <a:pt x="90652" y="20943"/>
                      <a:pt x="189361" y="33025"/>
                    </a:cubicBezTo>
                    <a:lnTo>
                      <a:pt x="189361" y="88604"/>
                    </a:lnTo>
                    <a:close/>
                  </a:path>
                </a:pathLst>
              </a:custGeom>
              <a:solidFill>
                <a:srgbClr val="FFD248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3" name="Forme libre 402">
                <a:extLst>
                  <a:ext uri="{FF2B5EF4-FFF2-40B4-BE49-F238E27FC236}">
                    <a16:creationId xmlns:a16="http://schemas.microsoft.com/office/drawing/2014/main" id="{451A175C-F15B-394F-B923-698420867706}"/>
                  </a:ext>
                </a:extLst>
              </p:cNvPr>
              <p:cNvSpPr/>
              <p:nvPr/>
            </p:nvSpPr>
            <p:spPr>
              <a:xfrm>
                <a:off x="4707345" y="4696876"/>
                <a:ext cx="408148" cy="165124"/>
              </a:xfrm>
              <a:custGeom>
                <a:avLst/>
                <a:gdLst>
                  <a:gd name="connsiteX0" fmla="*/ 17743 w 408148"/>
                  <a:gd name="connsiteY0" fmla="*/ 0 h 165124"/>
                  <a:gd name="connsiteX1" fmla="*/ 390019 w 408148"/>
                  <a:gd name="connsiteY1" fmla="*/ 0 h 165124"/>
                  <a:gd name="connsiteX2" fmla="*/ 408149 w 408148"/>
                  <a:gd name="connsiteY2" fmla="*/ 33428 h 165124"/>
                  <a:gd name="connsiteX3" fmla="*/ 408149 w 408148"/>
                  <a:gd name="connsiteY3" fmla="*/ 133711 h 165124"/>
                  <a:gd name="connsiteX4" fmla="*/ 223220 w 408148"/>
                  <a:gd name="connsiteY4" fmla="*/ 165125 h 165124"/>
                  <a:gd name="connsiteX5" fmla="*/ 223220 w 408148"/>
                  <a:gd name="connsiteY5" fmla="*/ 151431 h 165124"/>
                  <a:gd name="connsiteX6" fmla="*/ 206298 w 408148"/>
                  <a:gd name="connsiteY6" fmla="*/ 133711 h 165124"/>
                  <a:gd name="connsiteX7" fmla="*/ 189377 w 408148"/>
                  <a:gd name="connsiteY7" fmla="*/ 151431 h 165124"/>
                  <a:gd name="connsiteX8" fmla="*/ 189377 w 408148"/>
                  <a:gd name="connsiteY8" fmla="*/ 165125 h 165124"/>
                  <a:gd name="connsiteX9" fmla="*/ 16 w 408148"/>
                  <a:gd name="connsiteY9" fmla="*/ 133711 h 165124"/>
                  <a:gd name="connsiteX10" fmla="*/ 16 w 408148"/>
                  <a:gd name="connsiteY10" fmla="*/ 33428 h 165124"/>
                  <a:gd name="connsiteX11" fmla="*/ 17743 w 408148"/>
                  <a:gd name="connsiteY11" fmla="*/ 0 h 16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8148" h="165124">
                    <a:moveTo>
                      <a:pt x="17743" y="0"/>
                    </a:moveTo>
                    <a:lnTo>
                      <a:pt x="390019" y="0"/>
                    </a:lnTo>
                    <a:cubicBezTo>
                      <a:pt x="400897" y="0"/>
                      <a:pt x="408149" y="14902"/>
                      <a:pt x="408149" y="33428"/>
                    </a:cubicBezTo>
                    <a:lnTo>
                      <a:pt x="408149" y="133711"/>
                    </a:lnTo>
                    <a:cubicBezTo>
                      <a:pt x="342880" y="155459"/>
                      <a:pt x="279625" y="163917"/>
                      <a:pt x="223220" y="165125"/>
                    </a:cubicBezTo>
                    <a:lnTo>
                      <a:pt x="223220" y="151431"/>
                    </a:lnTo>
                    <a:cubicBezTo>
                      <a:pt x="223220" y="135322"/>
                      <a:pt x="215565" y="133711"/>
                      <a:pt x="206298" y="133711"/>
                    </a:cubicBezTo>
                    <a:cubicBezTo>
                      <a:pt x="197032" y="133711"/>
                      <a:pt x="189377" y="135725"/>
                      <a:pt x="189377" y="151431"/>
                    </a:cubicBezTo>
                    <a:lnTo>
                      <a:pt x="189377" y="165125"/>
                    </a:lnTo>
                    <a:cubicBezTo>
                      <a:pt x="77775" y="162306"/>
                      <a:pt x="16" y="133711"/>
                      <a:pt x="16" y="133711"/>
                    </a:cubicBezTo>
                    <a:lnTo>
                      <a:pt x="16" y="33428"/>
                    </a:lnTo>
                    <a:cubicBezTo>
                      <a:pt x="-387" y="15304"/>
                      <a:pt x="6865" y="0"/>
                      <a:pt x="17743" y="0"/>
                    </a:cubicBezTo>
                  </a:path>
                </a:pathLst>
              </a:custGeom>
              <a:solidFill>
                <a:srgbClr val="F7A60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4" name="Forme libre 403">
                <a:extLst>
                  <a:ext uri="{FF2B5EF4-FFF2-40B4-BE49-F238E27FC236}">
                    <a16:creationId xmlns:a16="http://schemas.microsoft.com/office/drawing/2014/main" id="{DDCD50A5-B023-8C43-92EC-B3C5A83BBE4D}"/>
                  </a:ext>
                </a:extLst>
              </p:cNvPr>
              <p:cNvSpPr/>
              <p:nvPr/>
            </p:nvSpPr>
            <p:spPr>
              <a:xfrm>
                <a:off x="4891082" y="4881735"/>
                <a:ext cx="43915" cy="31816"/>
              </a:xfrm>
              <a:custGeom>
                <a:avLst/>
                <a:gdLst>
                  <a:gd name="connsiteX0" fmla="*/ 0 w 43915"/>
                  <a:gd name="connsiteY0" fmla="*/ 24567 h 31816"/>
                  <a:gd name="connsiteX1" fmla="*/ 0 w 43915"/>
                  <a:gd name="connsiteY1" fmla="*/ 7249 h 31816"/>
                  <a:gd name="connsiteX2" fmla="*/ 7252 w 43915"/>
                  <a:gd name="connsiteY2" fmla="*/ 0 h 31816"/>
                  <a:gd name="connsiteX3" fmla="*/ 36663 w 43915"/>
                  <a:gd name="connsiteY3" fmla="*/ 0 h 31816"/>
                  <a:gd name="connsiteX4" fmla="*/ 43916 w 43915"/>
                  <a:gd name="connsiteY4" fmla="*/ 7249 h 31816"/>
                  <a:gd name="connsiteX5" fmla="*/ 43916 w 43915"/>
                  <a:gd name="connsiteY5" fmla="*/ 24567 h 31816"/>
                  <a:gd name="connsiteX6" fmla="*/ 36663 w 43915"/>
                  <a:gd name="connsiteY6" fmla="*/ 31817 h 31816"/>
                  <a:gd name="connsiteX7" fmla="*/ 7252 w 43915"/>
                  <a:gd name="connsiteY7" fmla="*/ 31817 h 31816"/>
                  <a:gd name="connsiteX8" fmla="*/ 0 w 43915"/>
                  <a:gd name="connsiteY8" fmla="*/ 24567 h 31816"/>
                  <a:gd name="connsiteX9" fmla="*/ 7252 w 43915"/>
                  <a:gd name="connsiteY9" fmla="*/ 2014 h 31816"/>
                  <a:gd name="connsiteX10" fmla="*/ 2014 w 43915"/>
                  <a:gd name="connsiteY10" fmla="*/ 7249 h 31816"/>
                  <a:gd name="connsiteX11" fmla="*/ 2014 w 43915"/>
                  <a:gd name="connsiteY11" fmla="*/ 24567 h 31816"/>
                  <a:gd name="connsiteX12" fmla="*/ 7252 w 43915"/>
                  <a:gd name="connsiteY12" fmla="*/ 29803 h 31816"/>
                  <a:gd name="connsiteX13" fmla="*/ 36663 w 43915"/>
                  <a:gd name="connsiteY13" fmla="*/ 29803 h 31816"/>
                  <a:gd name="connsiteX14" fmla="*/ 41901 w 43915"/>
                  <a:gd name="connsiteY14" fmla="*/ 24567 h 31816"/>
                  <a:gd name="connsiteX15" fmla="*/ 41901 w 43915"/>
                  <a:gd name="connsiteY15" fmla="*/ 7249 h 31816"/>
                  <a:gd name="connsiteX16" fmla="*/ 36663 w 43915"/>
                  <a:gd name="connsiteY16" fmla="*/ 2014 h 31816"/>
                  <a:gd name="connsiteX17" fmla="*/ 7252 w 43915"/>
                  <a:gd name="connsiteY17" fmla="*/ 2014 h 31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3915" h="31816">
                    <a:moveTo>
                      <a:pt x="0" y="24567"/>
                    </a:moveTo>
                    <a:lnTo>
                      <a:pt x="0" y="7249"/>
                    </a:lnTo>
                    <a:cubicBezTo>
                      <a:pt x="0" y="3222"/>
                      <a:pt x="3223" y="0"/>
                      <a:pt x="7252" y="0"/>
                    </a:cubicBezTo>
                    <a:lnTo>
                      <a:pt x="36663" y="0"/>
                    </a:lnTo>
                    <a:cubicBezTo>
                      <a:pt x="40692" y="0"/>
                      <a:pt x="43916" y="3222"/>
                      <a:pt x="43916" y="7249"/>
                    </a:cubicBezTo>
                    <a:lnTo>
                      <a:pt x="43916" y="24567"/>
                    </a:lnTo>
                    <a:cubicBezTo>
                      <a:pt x="43916" y="28595"/>
                      <a:pt x="40692" y="31817"/>
                      <a:pt x="36663" y="31817"/>
                    </a:cubicBezTo>
                    <a:lnTo>
                      <a:pt x="7252" y="31817"/>
                    </a:lnTo>
                    <a:cubicBezTo>
                      <a:pt x="3223" y="31817"/>
                      <a:pt x="0" y="28595"/>
                      <a:pt x="0" y="24567"/>
                    </a:cubicBezTo>
                    <a:moveTo>
                      <a:pt x="7252" y="2014"/>
                    </a:moveTo>
                    <a:cubicBezTo>
                      <a:pt x="4432" y="2014"/>
                      <a:pt x="2014" y="4430"/>
                      <a:pt x="2014" y="7249"/>
                    </a:cubicBezTo>
                    <a:lnTo>
                      <a:pt x="2014" y="24567"/>
                    </a:lnTo>
                    <a:cubicBezTo>
                      <a:pt x="2014" y="27386"/>
                      <a:pt x="4432" y="29803"/>
                      <a:pt x="7252" y="29803"/>
                    </a:cubicBezTo>
                    <a:lnTo>
                      <a:pt x="36663" y="29803"/>
                    </a:lnTo>
                    <a:cubicBezTo>
                      <a:pt x="39483" y="29803"/>
                      <a:pt x="41901" y="27386"/>
                      <a:pt x="41901" y="24567"/>
                    </a:cubicBezTo>
                    <a:lnTo>
                      <a:pt x="41901" y="7249"/>
                    </a:lnTo>
                    <a:cubicBezTo>
                      <a:pt x="41901" y="4430"/>
                      <a:pt x="39483" y="2014"/>
                      <a:pt x="36663" y="2014"/>
                    </a:cubicBezTo>
                    <a:lnTo>
                      <a:pt x="7252" y="2014"/>
                    </a:lnTo>
                    <a:close/>
                  </a:path>
                </a:pathLst>
              </a:custGeom>
              <a:solidFill>
                <a:srgbClr val="FFFFF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5" name="Forme libre 404">
                <a:extLst>
                  <a:ext uri="{FF2B5EF4-FFF2-40B4-BE49-F238E27FC236}">
                    <a16:creationId xmlns:a16="http://schemas.microsoft.com/office/drawing/2014/main" id="{E10E5C51-066E-2740-A4F0-6A94E4D5BA9C}"/>
                  </a:ext>
                </a:extLst>
              </p:cNvPr>
              <p:cNvSpPr/>
              <p:nvPr/>
            </p:nvSpPr>
            <p:spPr>
              <a:xfrm>
                <a:off x="4911226" y="4870056"/>
                <a:ext cx="3626" cy="27386"/>
              </a:xfrm>
              <a:custGeom>
                <a:avLst/>
                <a:gdLst>
                  <a:gd name="connsiteX0" fmla="*/ 0 w 3626"/>
                  <a:gd name="connsiteY0" fmla="*/ 25776 h 27386"/>
                  <a:gd name="connsiteX1" fmla="*/ 2014 w 3626"/>
                  <a:gd name="connsiteY1" fmla="*/ 27386 h 27386"/>
                  <a:gd name="connsiteX2" fmla="*/ 3626 w 3626"/>
                  <a:gd name="connsiteY2" fmla="*/ 25776 h 27386"/>
                  <a:gd name="connsiteX3" fmla="*/ 3626 w 3626"/>
                  <a:gd name="connsiteY3" fmla="*/ 1611 h 27386"/>
                  <a:gd name="connsiteX4" fmla="*/ 2014 w 3626"/>
                  <a:gd name="connsiteY4" fmla="*/ 0 h 27386"/>
                  <a:gd name="connsiteX5" fmla="*/ 0 w 3626"/>
                  <a:gd name="connsiteY5" fmla="*/ 1611 h 27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626" h="27386">
                    <a:moveTo>
                      <a:pt x="0" y="25776"/>
                    </a:moveTo>
                    <a:lnTo>
                      <a:pt x="2014" y="27386"/>
                    </a:lnTo>
                    <a:lnTo>
                      <a:pt x="3626" y="25776"/>
                    </a:lnTo>
                    <a:lnTo>
                      <a:pt x="3626" y="1611"/>
                    </a:lnTo>
                    <a:lnTo>
                      <a:pt x="2014" y="0"/>
                    </a:lnTo>
                    <a:lnTo>
                      <a:pt x="0" y="1611"/>
                    </a:lnTo>
                    <a:close/>
                  </a:path>
                </a:pathLst>
              </a:custGeom>
              <a:solidFill>
                <a:srgbClr val="FFFFF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6" name="Forme libre 405">
                <a:extLst>
                  <a:ext uri="{FF2B5EF4-FFF2-40B4-BE49-F238E27FC236}">
                    <a16:creationId xmlns:a16="http://schemas.microsoft.com/office/drawing/2014/main" id="{B11AC497-7C20-C545-B79D-AD3DAC5AFE18}"/>
                  </a:ext>
                </a:extLst>
              </p:cNvPr>
              <p:cNvSpPr/>
              <p:nvPr/>
            </p:nvSpPr>
            <p:spPr>
              <a:xfrm>
                <a:off x="3751508" y="4196669"/>
                <a:ext cx="218553" cy="95395"/>
              </a:xfrm>
              <a:custGeom>
                <a:avLst/>
                <a:gdLst>
                  <a:gd name="connsiteX0" fmla="*/ 151673 w 218553"/>
                  <a:gd name="connsiteY0" fmla="*/ 11680 h 95395"/>
                  <a:gd name="connsiteX1" fmla="*/ 94059 w 218553"/>
                  <a:gd name="connsiteY1" fmla="*/ 28192 h 95395"/>
                  <a:gd name="connsiteX2" fmla="*/ 1796 w 218553"/>
                  <a:gd name="connsiteY2" fmla="*/ 49940 h 95395"/>
                  <a:gd name="connsiteX3" fmla="*/ 70288 w 218553"/>
                  <a:gd name="connsiteY3" fmla="*/ 91825 h 95395"/>
                  <a:gd name="connsiteX4" fmla="*/ 149256 w 218553"/>
                  <a:gd name="connsiteY4" fmla="*/ 81757 h 95395"/>
                  <a:gd name="connsiteX5" fmla="*/ 212510 w 218553"/>
                  <a:gd name="connsiteY5" fmla="*/ 43094 h 95395"/>
                  <a:gd name="connsiteX6" fmla="*/ 218554 w 218553"/>
                  <a:gd name="connsiteY6" fmla="*/ 6041 h 95395"/>
                  <a:gd name="connsiteX7" fmla="*/ 204050 w 218553"/>
                  <a:gd name="connsiteY7" fmla="*/ 0 h 95395"/>
                  <a:gd name="connsiteX8" fmla="*/ 151673 w 218553"/>
                  <a:gd name="connsiteY8" fmla="*/ 11680 h 95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8553" h="95395">
                    <a:moveTo>
                      <a:pt x="151673" y="11680"/>
                    </a:moveTo>
                    <a:cubicBezTo>
                      <a:pt x="147644" y="14902"/>
                      <a:pt x="131931" y="25373"/>
                      <a:pt x="94059" y="28192"/>
                    </a:cubicBezTo>
                    <a:cubicBezTo>
                      <a:pt x="60216" y="31011"/>
                      <a:pt x="-12305" y="16110"/>
                      <a:pt x="1796" y="49940"/>
                    </a:cubicBezTo>
                    <a:cubicBezTo>
                      <a:pt x="34430" y="67258"/>
                      <a:pt x="70288" y="91825"/>
                      <a:pt x="70288" y="91825"/>
                    </a:cubicBezTo>
                    <a:cubicBezTo>
                      <a:pt x="90836" y="100686"/>
                      <a:pt x="127500" y="91423"/>
                      <a:pt x="149256" y="81757"/>
                    </a:cubicBezTo>
                    <a:lnTo>
                      <a:pt x="212510" y="43094"/>
                    </a:lnTo>
                    <a:lnTo>
                      <a:pt x="218554" y="6041"/>
                    </a:lnTo>
                    <a:lnTo>
                      <a:pt x="204050" y="0"/>
                    </a:lnTo>
                    <a:cubicBezTo>
                      <a:pt x="187531" y="6444"/>
                      <a:pt x="169804" y="10069"/>
                      <a:pt x="151673" y="11680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7" name="Forme libre 406">
                <a:extLst>
                  <a:ext uri="{FF2B5EF4-FFF2-40B4-BE49-F238E27FC236}">
                    <a16:creationId xmlns:a16="http://schemas.microsoft.com/office/drawing/2014/main" id="{0D3C4A4A-CA06-2345-A881-5A80DD2B65E5}"/>
                  </a:ext>
                </a:extLst>
              </p:cNvPr>
              <p:cNvSpPr/>
              <p:nvPr/>
            </p:nvSpPr>
            <p:spPr>
              <a:xfrm>
                <a:off x="3834662" y="4182170"/>
                <a:ext cx="120090" cy="53162"/>
              </a:xfrm>
              <a:custGeom>
                <a:avLst/>
                <a:gdLst>
                  <a:gd name="connsiteX0" fmla="*/ 57238 w 120090"/>
                  <a:gd name="connsiteY0" fmla="*/ 41080 h 53162"/>
                  <a:gd name="connsiteX1" fmla="*/ 53612 w 120090"/>
                  <a:gd name="connsiteY1" fmla="*/ 45107 h 53162"/>
                  <a:gd name="connsiteX2" fmla="*/ 66908 w 120090"/>
                  <a:gd name="connsiteY2" fmla="*/ 51148 h 53162"/>
                  <a:gd name="connsiteX3" fmla="*/ 120090 w 120090"/>
                  <a:gd name="connsiteY3" fmla="*/ 53162 h 53162"/>
                  <a:gd name="connsiteX4" fmla="*/ 117673 w 120090"/>
                  <a:gd name="connsiteY4" fmla="*/ 27386 h 53162"/>
                  <a:gd name="connsiteX5" fmla="*/ 2042 w 120090"/>
                  <a:gd name="connsiteY5" fmla="*/ 0 h 53162"/>
                  <a:gd name="connsiteX6" fmla="*/ 13725 w 120090"/>
                  <a:gd name="connsiteY6" fmla="*/ 25373 h 53162"/>
                  <a:gd name="connsiteX7" fmla="*/ 57238 w 120090"/>
                  <a:gd name="connsiteY7" fmla="*/ 41080 h 53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0090" h="53162">
                    <a:moveTo>
                      <a:pt x="57238" y="41080"/>
                    </a:moveTo>
                    <a:cubicBezTo>
                      <a:pt x="57238" y="41080"/>
                      <a:pt x="56030" y="42691"/>
                      <a:pt x="53612" y="45107"/>
                    </a:cubicBezTo>
                    <a:cubicBezTo>
                      <a:pt x="58044" y="46718"/>
                      <a:pt x="62476" y="48732"/>
                      <a:pt x="66908" y="51148"/>
                    </a:cubicBezTo>
                    <a:cubicBezTo>
                      <a:pt x="84635" y="51551"/>
                      <a:pt x="102363" y="52759"/>
                      <a:pt x="120090" y="53162"/>
                    </a:cubicBezTo>
                    <a:cubicBezTo>
                      <a:pt x="118881" y="43094"/>
                      <a:pt x="117270" y="28595"/>
                      <a:pt x="117673" y="27386"/>
                    </a:cubicBezTo>
                    <a:lnTo>
                      <a:pt x="2042" y="0"/>
                    </a:lnTo>
                    <a:cubicBezTo>
                      <a:pt x="2042" y="0"/>
                      <a:pt x="-7225" y="12082"/>
                      <a:pt x="13725" y="25373"/>
                    </a:cubicBezTo>
                    <a:cubicBezTo>
                      <a:pt x="34676" y="38261"/>
                      <a:pt x="57238" y="41080"/>
                      <a:pt x="57238" y="41080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8" name="Forme libre 407">
                <a:extLst>
                  <a:ext uri="{FF2B5EF4-FFF2-40B4-BE49-F238E27FC236}">
                    <a16:creationId xmlns:a16="http://schemas.microsoft.com/office/drawing/2014/main" id="{E82BF49D-B9D4-B84B-AE81-41B81871BA9C}"/>
                  </a:ext>
                </a:extLst>
              </p:cNvPr>
              <p:cNvSpPr/>
              <p:nvPr/>
            </p:nvSpPr>
            <p:spPr>
              <a:xfrm>
                <a:off x="4864087" y="4519266"/>
                <a:ext cx="107186" cy="171420"/>
              </a:xfrm>
              <a:custGeom>
                <a:avLst/>
                <a:gdLst>
                  <a:gd name="connsiteX0" fmla="*/ 38275 w 107186"/>
                  <a:gd name="connsiteY0" fmla="*/ 17318 h 171420"/>
                  <a:gd name="connsiteX1" fmla="*/ 0 w 107186"/>
                  <a:gd name="connsiteY1" fmla="*/ 101491 h 171420"/>
                  <a:gd name="connsiteX2" fmla="*/ 25383 w 107186"/>
                  <a:gd name="connsiteY2" fmla="*/ 165930 h 171420"/>
                  <a:gd name="connsiteX3" fmla="*/ 45527 w 107186"/>
                  <a:gd name="connsiteY3" fmla="*/ 169957 h 171420"/>
                  <a:gd name="connsiteX4" fmla="*/ 104350 w 107186"/>
                  <a:gd name="connsiteY4" fmla="*/ 138544 h 171420"/>
                  <a:gd name="connsiteX5" fmla="*/ 106365 w 107186"/>
                  <a:gd name="connsiteY5" fmla="*/ 123642 h 171420"/>
                  <a:gd name="connsiteX6" fmla="*/ 95084 w 107186"/>
                  <a:gd name="connsiteY6" fmla="*/ 86590 h 171420"/>
                  <a:gd name="connsiteX7" fmla="*/ 93472 w 107186"/>
                  <a:gd name="connsiteY7" fmla="*/ 0 h 171420"/>
                  <a:gd name="connsiteX8" fmla="*/ 38275 w 107186"/>
                  <a:gd name="connsiteY8" fmla="*/ 17318 h 171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7186" h="171420">
                    <a:moveTo>
                      <a:pt x="38275" y="17318"/>
                    </a:moveTo>
                    <a:lnTo>
                      <a:pt x="0" y="101491"/>
                    </a:lnTo>
                    <a:cubicBezTo>
                      <a:pt x="0" y="101491"/>
                      <a:pt x="8058" y="147807"/>
                      <a:pt x="25383" y="165930"/>
                    </a:cubicBezTo>
                    <a:cubicBezTo>
                      <a:pt x="30620" y="171569"/>
                      <a:pt x="38678" y="172777"/>
                      <a:pt x="45527" y="169957"/>
                    </a:cubicBezTo>
                    <a:cubicBezTo>
                      <a:pt x="61643" y="163514"/>
                      <a:pt x="98307" y="147404"/>
                      <a:pt x="104350" y="138544"/>
                    </a:cubicBezTo>
                    <a:cubicBezTo>
                      <a:pt x="107171" y="134113"/>
                      <a:pt x="107976" y="128475"/>
                      <a:pt x="106365" y="123642"/>
                    </a:cubicBezTo>
                    <a:lnTo>
                      <a:pt x="95084" y="86590"/>
                    </a:lnTo>
                    <a:lnTo>
                      <a:pt x="93472" y="0"/>
                    </a:lnTo>
                    <a:lnTo>
                      <a:pt x="38275" y="17318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09" name="Forme libre 408">
                <a:extLst>
                  <a:ext uri="{FF2B5EF4-FFF2-40B4-BE49-F238E27FC236}">
                    <a16:creationId xmlns:a16="http://schemas.microsoft.com/office/drawing/2014/main" id="{662E0051-2AD9-E142-A086-8FDD9B665A5B}"/>
                  </a:ext>
                </a:extLst>
              </p:cNvPr>
              <p:cNvSpPr/>
              <p:nvPr/>
            </p:nvSpPr>
            <p:spPr>
              <a:xfrm>
                <a:off x="4675130" y="3454816"/>
                <a:ext cx="107170" cy="180428"/>
              </a:xfrm>
              <a:custGeom>
                <a:avLst/>
                <a:gdLst>
                  <a:gd name="connsiteX0" fmla="*/ 1208 w 107170"/>
                  <a:gd name="connsiteY0" fmla="*/ 67661 h 180428"/>
                  <a:gd name="connsiteX1" fmla="*/ 0 w 107170"/>
                  <a:gd name="connsiteY1" fmla="*/ 180429 h 180428"/>
                  <a:gd name="connsiteX2" fmla="*/ 100724 w 107170"/>
                  <a:gd name="connsiteY2" fmla="*/ 175193 h 180428"/>
                  <a:gd name="connsiteX3" fmla="*/ 107170 w 107170"/>
                  <a:gd name="connsiteY3" fmla="*/ 0 h 180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7170" h="180428">
                    <a:moveTo>
                      <a:pt x="1208" y="67661"/>
                    </a:moveTo>
                    <a:lnTo>
                      <a:pt x="0" y="180429"/>
                    </a:lnTo>
                    <a:lnTo>
                      <a:pt x="100724" y="175193"/>
                    </a:lnTo>
                    <a:lnTo>
                      <a:pt x="107170" y="0"/>
                    </a:lnTo>
                    <a:close/>
                  </a:path>
                </a:pathLst>
              </a:custGeom>
              <a:solidFill>
                <a:srgbClr val="F4A086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10" name="Forme libre 409">
                <a:extLst>
                  <a:ext uri="{FF2B5EF4-FFF2-40B4-BE49-F238E27FC236}">
                    <a16:creationId xmlns:a16="http://schemas.microsoft.com/office/drawing/2014/main" id="{80BE3073-B242-7A4B-A875-549C71763CF0}"/>
                  </a:ext>
                </a:extLst>
              </p:cNvPr>
              <p:cNvSpPr/>
              <p:nvPr/>
            </p:nvSpPr>
            <p:spPr>
              <a:xfrm>
                <a:off x="4609245" y="3279220"/>
                <a:ext cx="174739" cy="253783"/>
              </a:xfrm>
              <a:custGeom>
                <a:avLst/>
                <a:gdLst>
                  <a:gd name="connsiteX0" fmla="*/ 50574 w 174739"/>
                  <a:gd name="connsiteY0" fmla="*/ 253728 h 253783"/>
                  <a:gd name="connsiteX1" fmla="*/ 16731 w 174739"/>
                  <a:gd name="connsiteY1" fmla="*/ 245673 h 253783"/>
                  <a:gd name="connsiteX2" fmla="*/ 22371 w 174739"/>
                  <a:gd name="connsiteY2" fmla="*/ 27386 h 253783"/>
                  <a:gd name="connsiteX3" fmla="*/ 87237 w 174739"/>
                  <a:gd name="connsiteY3" fmla="*/ 0 h 253783"/>
                  <a:gd name="connsiteX4" fmla="*/ 169831 w 174739"/>
                  <a:gd name="connsiteY4" fmla="*/ 51551 h 253783"/>
                  <a:gd name="connsiteX5" fmla="*/ 174666 w 174739"/>
                  <a:gd name="connsiteY5" fmla="*/ 158278 h 253783"/>
                  <a:gd name="connsiteX6" fmla="*/ 138002 w 174739"/>
                  <a:gd name="connsiteY6" fmla="*/ 231980 h 253783"/>
                  <a:gd name="connsiteX7" fmla="*/ 50574 w 174739"/>
                  <a:gd name="connsiteY7" fmla="*/ 253728 h 25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4739" h="253783">
                    <a:moveTo>
                      <a:pt x="50574" y="253728"/>
                    </a:moveTo>
                    <a:cubicBezTo>
                      <a:pt x="36473" y="253326"/>
                      <a:pt x="23580" y="251312"/>
                      <a:pt x="16731" y="245673"/>
                    </a:cubicBezTo>
                    <a:cubicBezTo>
                      <a:pt x="-23962" y="186470"/>
                      <a:pt x="22371" y="27386"/>
                      <a:pt x="22371" y="27386"/>
                    </a:cubicBezTo>
                    <a:lnTo>
                      <a:pt x="87237" y="0"/>
                    </a:lnTo>
                    <a:lnTo>
                      <a:pt x="169831" y="51551"/>
                    </a:lnTo>
                    <a:lnTo>
                      <a:pt x="174666" y="158278"/>
                    </a:lnTo>
                    <a:cubicBezTo>
                      <a:pt x="175874" y="186873"/>
                      <a:pt x="162176" y="213857"/>
                      <a:pt x="138002" y="231980"/>
                    </a:cubicBezTo>
                    <a:cubicBezTo>
                      <a:pt x="111008" y="246479"/>
                      <a:pt x="81194" y="254534"/>
                      <a:pt x="50574" y="253728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11" name="Forme libre 410">
                <a:extLst>
                  <a:ext uri="{FF2B5EF4-FFF2-40B4-BE49-F238E27FC236}">
                    <a16:creationId xmlns:a16="http://schemas.microsoft.com/office/drawing/2014/main" id="{E4D3BB4B-EF7E-1D4C-B203-B7AC17BBE681}"/>
                  </a:ext>
                </a:extLst>
              </p:cNvPr>
              <p:cNvSpPr/>
              <p:nvPr/>
            </p:nvSpPr>
            <p:spPr>
              <a:xfrm>
                <a:off x="4569168" y="3218211"/>
                <a:ext cx="283321" cy="235799"/>
              </a:xfrm>
              <a:custGeom>
                <a:avLst/>
                <a:gdLst>
                  <a:gd name="connsiteX0" fmla="*/ 186541 w 283321"/>
                  <a:gd name="connsiteY0" fmla="*/ 172972 h 235799"/>
                  <a:gd name="connsiteX1" fmla="*/ 176065 w 283321"/>
                  <a:gd name="connsiteY1" fmla="*/ 116588 h 235799"/>
                  <a:gd name="connsiteX2" fmla="*/ 101933 w 283321"/>
                  <a:gd name="connsiteY2" fmla="*/ 120615 h 235799"/>
                  <a:gd name="connsiteX3" fmla="*/ 0 w 283321"/>
                  <a:gd name="connsiteY3" fmla="*/ 50538 h 235799"/>
                  <a:gd name="connsiteX4" fmla="*/ 34246 w 283321"/>
                  <a:gd name="connsiteY4" fmla="*/ 1403 h 235799"/>
                  <a:gd name="connsiteX5" fmla="*/ 87025 w 283321"/>
                  <a:gd name="connsiteY5" fmla="*/ 20332 h 235799"/>
                  <a:gd name="connsiteX6" fmla="*/ 231665 w 283321"/>
                  <a:gd name="connsiteY6" fmla="*/ 41275 h 235799"/>
                  <a:gd name="connsiteX7" fmla="*/ 282833 w 283321"/>
                  <a:gd name="connsiteY7" fmla="*/ 75508 h 235799"/>
                  <a:gd name="connsiteX8" fmla="*/ 249392 w 283321"/>
                  <a:gd name="connsiteY8" fmla="*/ 187873 h 235799"/>
                  <a:gd name="connsiteX9" fmla="*/ 212729 w 283321"/>
                  <a:gd name="connsiteY9" fmla="*/ 235800 h 235799"/>
                  <a:gd name="connsiteX10" fmla="*/ 186541 w 283321"/>
                  <a:gd name="connsiteY10" fmla="*/ 172972 h 235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3321" h="235799">
                    <a:moveTo>
                      <a:pt x="186541" y="172972"/>
                    </a:moveTo>
                    <a:cubicBezTo>
                      <a:pt x="182109" y="155251"/>
                      <a:pt x="194196" y="113769"/>
                      <a:pt x="176065" y="116588"/>
                    </a:cubicBezTo>
                    <a:cubicBezTo>
                      <a:pt x="162770" y="119004"/>
                      <a:pt x="117243" y="120615"/>
                      <a:pt x="101933" y="120615"/>
                    </a:cubicBezTo>
                    <a:cubicBezTo>
                      <a:pt x="65269" y="120615"/>
                      <a:pt x="0" y="106116"/>
                      <a:pt x="0" y="50538"/>
                    </a:cubicBezTo>
                    <a:cubicBezTo>
                      <a:pt x="0" y="22749"/>
                      <a:pt x="16921" y="8653"/>
                      <a:pt x="34246" y="1403"/>
                    </a:cubicBezTo>
                    <a:cubicBezTo>
                      <a:pt x="51168" y="-5444"/>
                      <a:pt x="70104" y="14694"/>
                      <a:pt x="87025" y="20332"/>
                    </a:cubicBezTo>
                    <a:cubicBezTo>
                      <a:pt x="127315" y="34428"/>
                      <a:pt x="210311" y="45705"/>
                      <a:pt x="231665" y="41275"/>
                    </a:cubicBezTo>
                    <a:cubicBezTo>
                      <a:pt x="255839" y="36442"/>
                      <a:pt x="281221" y="61009"/>
                      <a:pt x="282833" y="75508"/>
                    </a:cubicBezTo>
                    <a:cubicBezTo>
                      <a:pt x="286862" y="107727"/>
                      <a:pt x="265106" y="156862"/>
                      <a:pt x="249392" y="187873"/>
                    </a:cubicBezTo>
                    <a:cubicBezTo>
                      <a:pt x="240126" y="205997"/>
                      <a:pt x="227636" y="222106"/>
                      <a:pt x="212729" y="235800"/>
                    </a:cubicBezTo>
                    <a:lnTo>
                      <a:pt x="186541" y="172972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12" name="Forme libre 411">
                <a:extLst>
                  <a:ext uri="{FF2B5EF4-FFF2-40B4-BE49-F238E27FC236}">
                    <a16:creationId xmlns:a16="http://schemas.microsoft.com/office/drawing/2014/main" id="{B2E5FBB7-B843-E74C-ADAB-93D6C56E54E9}"/>
                  </a:ext>
                </a:extLst>
              </p:cNvPr>
              <p:cNvSpPr/>
              <p:nvPr/>
            </p:nvSpPr>
            <p:spPr>
              <a:xfrm>
                <a:off x="4758933" y="3390644"/>
                <a:ext cx="48857" cy="41350"/>
              </a:xfrm>
              <a:custGeom>
                <a:avLst/>
                <a:gdLst>
                  <a:gd name="connsiteX0" fmla="*/ 43915 w 48857"/>
                  <a:gd name="connsiteY0" fmla="*/ 4565 h 41350"/>
                  <a:gd name="connsiteX1" fmla="*/ 9668 w 48857"/>
                  <a:gd name="connsiteY1" fmla="*/ 7787 h 41350"/>
                  <a:gd name="connsiteX2" fmla="*/ 5237 w 48857"/>
                  <a:gd name="connsiteY2" fmla="*/ 36785 h 41350"/>
                  <a:gd name="connsiteX3" fmla="*/ 39483 w 48857"/>
                  <a:gd name="connsiteY3" fmla="*/ 33563 h 41350"/>
                  <a:gd name="connsiteX4" fmla="*/ 43915 w 48857"/>
                  <a:gd name="connsiteY4" fmla="*/ 4565 h 41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8857" h="41350">
                    <a:moveTo>
                      <a:pt x="43915" y="4565"/>
                    </a:moveTo>
                    <a:cubicBezTo>
                      <a:pt x="35857" y="-2684"/>
                      <a:pt x="20546" y="-1073"/>
                      <a:pt x="9668" y="7787"/>
                    </a:cubicBezTo>
                    <a:cubicBezTo>
                      <a:pt x="-1210" y="16648"/>
                      <a:pt x="-3224" y="29536"/>
                      <a:pt x="5237" y="36785"/>
                    </a:cubicBezTo>
                    <a:cubicBezTo>
                      <a:pt x="13295" y="44034"/>
                      <a:pt x="28604" y="42423"/>
                      <a:pt x="39483" y="33563"/>
                    </a:cubicBezTo>
                    <a:cubicBezTo>
                      <a:pt x="49958" y="24703"/>
                      <a:pt x="51972" y="11815"/>
                      <a:pt x="43915" y="4565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413" name="Forme libre 412">
              <a:extLst>
                <a:ext uri="{FF2B5EF4-FFF2-40B4-BE49-F238E27FC236}">
                  <a16:creationId xmlns:a16="http://schemas.microsoft.com/office/drawing/2014/main" id="{0897A446-532D-4645-95F1-50E3CBA47C0C}"/>
                </a:ext>
              </a:extLst>
            </p:cNvPr>
            <p:cNvSpPr/>
            <p:nvPr/>
          </p:nvSpPr>
          <p:spPr>
            <a:xfrm>
              <a:off x="3935816" y="3599803"/>
              <a:ext cx="1110491" cy="963988"/>
            </a:xfrm>
            <a:custGeom>
              <a:avLst/>
              <a:gdLst>
                <a:gd name="connsiteX0" fmla="*/ 700233 w 1110491"/>
                <a:gd name="connsiteY0" fmla="*/ 8860 h 963988"/>
                <a:gd name="connsiteX1" fmla="*/ 533031 w 1110491"/>
                <a:gd name="connsiteY1" fmla="*/ 138544 h 963988"/>
                <a:gd name="connsiteX2" fmla="*/ 376707 w 1110491"/>
                <a:gd name="connsiteY2" fmla="*/ 446240 h 963988"/>
                <a:gd name="connsiteX3" fmla="*/ 0 w 1110491"/>
                <a:gd name="connsiteY3" fmla="*/ 596463 h 963988"/>
                <a:gd name="connsiteX4" fmla="*/ 0 w 1110491"/>
                <a:gd name="connsiteY4" fmla="*/ 668554 h 963988"/>
                <a:gd name="connsiteX5" fmla="*/ 462524 w 1110491"/>
                <a:gd name="connsiteY5" fmla="*/ 598074 h 963988"/>
                <a:gd name="connsiteX6" fmla="*/ 564860 w 1110491"/>
                <a:gd name="connsiteY6" fmla="*/ 464766 h 963988"/>
                <a:gd name="connsiteX7" fmla="*/ 564860 w 1110491"/>
                <a:gd name="connsiteY7" fmla="*/ 772059 h 963988"/>
                <a:gd name="connsiteX8" fmla="*/ 946805 w 1110491"/>
                <a:gd name="connsiteY8" fmla="*/ 772059 h 963988"/>
                <a:gd name="connsiteX9" fmla="*/ 937538 w 1110491"/>
                <a:gd name="connsiteY9" fmla="*/ 295614 h 963988"/>
                <a:gd name="connsiteX10" fmla="*/ 950834 w 1110491"/>
                <a:gd name="connsiteY10" fmla="*/ 962556 h 963988"/>
                <a:gd name="connsiteX11" fmla="*/ 1033428 w 1110491"/>
                <a:gd name="connsiteY11" fmla="*/ 962556 h 963988"/>
                <a:gd name="connsiteX12" fmla="*/ 1070897 w 1110491"/>
                <a:gd name="connsiteY12" fmla="*/ 220703 h 963988"/>
                <a:gd name="connsiteX13" fmla="*/ 911753 w 1110491"/>
                <a:gd name="connsiteY13" fmla="*/ 24165 h 963988"/>
                <a:gd name="connsiteX14" fmla="*/ 793705 w 1110491"/>
                <a:gd name="connsiteY14" fmla="*/ 0 h 963988"/>
                <a:gd name="connsiteX15" fmla="*/ 700233 w 1110491"/>
                <a:gd name="connsiteY15" fmla="*/ 8860 h 963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10491" h="963988">
                  <a:moveTo>
                    <a:pt x="700233" y="8860"/>
                  </a:moveTo>
                  <a:cubicBezTo>
                    <a:pt x="627711" y="23762"/>
                    <a:pt x="566471" y="72494"/>
                    <a:pt x="533031" y="138544"/>
                  </a:cubicBezTo>
                  <a:cubicBezTo>
                    <a:pt x="533031" y="138544"/>
                    <a:pt x="426264" y="408784"/>
                    <a:pt x="376707" y="446240"/>
                  </a:cubicBezTo>
                  <a:cubicBezTo>
                    <a:pt x="327151" y="483695"/>
                    <a:pt x="0" y="596463"/>
                    <a:pt x="0" y="596463"/>
                  </a:cubicBezTo>
                  <a:lnTo>
                    <a:pt x="0" y="668554"/>
                  </a:lnTo>
                  <a:cubicBezTo>
                    <a:pt x="0" y="668554"/>
                    <a:pt x="370261" y="662110"/>
                    <a:pt x="462524" y="598074"/>
                  </a:cubicBezTo>
                  <a:cubicBezTo>
                    <a:pt x="554787" y="534038"/>
                    <a:pt x="564860" y="464766"/>
                    <a:pt x="564860" y="464766"/>
                  </a:cubicBezTo>
                  <a:lnTo>
                    <a:pt x="564860" y="772059"/>
                  </a:lnTo>
                  <a:lnTo>
                    <a:pt x="946805" y="772059"/>
                  </a:lnTo>
                  <a:lnTo>
                    <a:pt x="937538" y="295614"/>
                  </a:lnTo>
                  <a:lnTo>
                    <a:pt x="950834" y="962556"/>
                  </a:lnTo>
                  <a:cubicBezTo>
                    <a:pt x="950834" y="962556"/>
                    <a:pt x="997167" y="965778"/>
                    <a:pt x="1033428" y="962556"/>
                  </a:cubicBezTo>
                  <a:cubicBezTo>
                    <a:pt x="1156714" y="679831"/>
                    <a:pt x="1102725" y="356831"/>
                    <a:pt x="1070897" y="220703"/>
                  </a:cubicBezTo>
                  <a:cubicBezTo>
                    <a:pt x="1050349" y="134113"/>
                    <a:pt x="992735" y="60009"/>
                    <a:pt x="911753" y="24165"/>
                  </a:cubicBezTo>
                  <a:cubicBezTo>
                    <a:pt x="878716" y="9666"/>
                    <a:pt x="839634" y="0"/>
                    <a:pt x="793705" y="0"/>
                  </a:cubicBezTo>
                  <a:cubicBezTo>
                    <a:pt x="757041" y="0"/>
                    <a:pt x="726421" y="3625"/>
                    <a:pt x="700233" y="8860"/>
                  </a:cubicBezTo>
                </a:path>
              </a:pathLst>
            </a:custGeom>
            <a:solidFill>
              <a:srgbClr val="63C1C5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414" name="Illustration">
              <a:extLst>
                <a:ext uri="{FF2B5EF4-FFF2-40B4-BE49-F238E27FC236}">
                  <a16:creationId xmlns:a16="http://schemas.microsoft.com/office/drawing/2014/main" id="{DC167B7A-5397-9240-90DF-7D9B8A893C03}"/>
                </a:ext>
              </a:extLst>
            </p:cNvPr>
            <p:cNvGrpSpPr/>
            <p:nvPr/>
          </p:nvGrpSpPr>
          <p:grpSpPr>
            <a:xfrm>
              <a:off x="2967929" y="3428212"/>
              <a:ext cx="957156" cy="2515959"/>
              <a:chOff x="2967929" y="3428212"/>
              <a:chExt cx="957156" cy="2515959"/>
            </a:xfrm>
          </p:grpSpPr>
          <p:sp>
            <p:nvSpPr>
              <p:cNvPr id="417" name="Forme libre 416">
                <a:extLst>
                  <a:ext uri="{FF2B5EF4-FFF2-40B4-BE49-F238E27FC236}">
                    <a16:creationId xmlns:a16="http://schemas.microsoft.com/office/drawing/2014/main" id="{6A4CDC7F-B32C-2E45-BFFA-0E22BF63BA6A}"/>
                  </a:ext>
                </a:extLst>
              </p:cNvPr>
              <p:cNvSpPr/>
              <p:nvPr/>
            </p:nvSpPr>
            <p:spPr>
              <a:xfrm>
                <a:off x="3269024" y="3863600"/>
                <a:ext cx="296128" cy="423331"/>
              </a:xfrm>
              <a:custGeom>
                <a:avLst/>
                <a:gdLst>
                  <a:gd name="connsiteX0" fmla="*/ 0 w 296128"/>
                  <a:gd name="connsiteY0" fmla="*/ 6444 h 423331"/>
                  <a:gd name="connsiteX1" fmla="*/ 113617 w 296128"/>
                  <a:gd name="connsiteY1" fmla="*/ 423283 h 423331"/>
                  <a:gd name="connsiteX2" fmla="*/ 296128 w 296128"/>
                  <a:gd name="connsiteY2" fmla="*/ 84979 h 423331"/>
                  <a:gd name="connsiteX3" fmla="*/ 251407 w 296128"/>
                  <a:gd name="connsiteY3" fmla="*/ 72091 h 423331"/>
                  <a:gd name="connsiteX4" fmla="*/ 144640 w 296128"/>
                  <a:gd name="connsiteY4" fmla="*/ 273463 h 423331"/>
                  <a:gd name="connsiteX5" fmla="*/ 133359 w 296128"/>
                  <a:gd name="connsiteY5" fmla="*/ 86993 h 423331"/>
                  <a:gd name="connsiteX6" fmla="*/ 0 w 296128"/>
                  <a:gd name="connsiteY6" fmla="*/ 6444 h 423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6128" h="423331">
                    <a:moveTo>
                      <a:pt x="0" y="6444"/>
                    </a:moveTo>
                    <a:cubicBezTo>
                      <a:pt x="0" y="6444"/>
                      <a:pt x="3626" y="428519"/>
                      <a:pt x="113617" y="423283"/>
                    </a:cubicBezTo>
                    <a:cubicBezTo>
                      <a:pt x="223607" y="418450"/>
                      <a:pt x="296128" y="84979"/>
                      <a:pt x="296128" y="84979"/>
                    </a:cubicBezTo>
                    <a:lnTo>
                      <a:pt x="251407" y="72091"/>
                    </a:lnTo>
                    <a:lnTo>
                      <a:pt x="144640" y="273463"/>
                    </a:lnTo>
                    <a:cubicBezTo>
                      <a:pt x="144640" y="273463"/>
                      <a:pt x="160755" y="207816"/>
                      <a:pt x="133359" y="86993"/>
                    </a:cubicBezTo>
                    <a:cubicBezTo>
                      <a:pt x="106767" y="-33830"/>
                      <a:pt x="0" y="6444"/>
                      <a:pt x="0" y="6444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18" name="Forme libre 417">
                <a:extLst>
                  <a:ext uri="{FF2B5EF4-FFF2-40B4-BE49-F238E27FC236}">
                    <a16:creationId xmlns:a16="http://schemas.microsoft.com/office/drawing/2014/main" id="{F14441E0-14FF-D74A-98DF-7973ABFF81A1}"/>
                  </a:ext>
                </a:extLst>
              </p:cNvPr>
              <p:cNvSpPr/>
              <p:nvPr/>
            </p:nvSpPr>
            <p:spPr>
              <a:xfrm>
                <a:off x="3175955" y="3828562"/>
                <a:ext cx="240529" cy="774878"/>
              </a:xfrm>
              <a:custGeom>
                <a:avLst/>
                <a:gdLst>
                  <a:gd name="connsiteX0" fmla="*/ 114422 w 240529"/>
                  <a:gd name="connsiteY0" fmla="*/ 0 h 774878"/>
                  <a:gd name="connsiteX1" fmla="*/ 109588 w 240529"/>
                  <a:gd name="connsiteY1" fmla="*/ 7652 h 774878"/>
                  <a:gd name="connsiteX2" fmla="*/ 232068 w 240529"/>
                  <a:gd name="connsiteY2" fmla="*/ 223120 h 774878"/>
                  <a:gd name="connsiteX3" fmla="*/ 232068 w 240529"/>
                  <a:gd name="connsiteY3" fmla="*/ 765615 h 774878"/>
                  <a:gd name="connsiteX4" fmla="*/ 9669 w 240529"/>
                  <a:gd name="connsiteY4" fmla="*/ 765615 h 774878"/>
                  <a:gd name="connsiteX5" fmla="*/ 16519 w 240529"/>
                  <a:gd name="connsiteY5" fmla="*/ 347970 h 774878"/>
                  <a:gd name="connsiteX6" fmla="*/ 7252 w 240529"/>
                  <a:gd name="connsiteY6" fmla="*/ 354817 h 774878"/>
                  <a:gd name="connsiteX7" fmla="*/ 0 w 240529"/>
                  <a:gd name="connsiteY7" fmla="*/ 774878 h 774878"/>
                  <a:gd name="connsiteX8" fmla="*/ 240529 w 240529"/>
                  <a:gd name="connsiteY8" fmla="*/ 774878 h 774878"/>
                  <a:gd name="connsiteX9" fmla="*/ 240529 w 240529"/>
                  <a:gd name="connsiteY9" fmla="*/ 223120 h 774878"/>
                  <a:gd name="connsiteX10" fmla="*/ 114422 w 240529"/>
                  <a:gd name="connsiteY10" fmla="*/ 0 h 7748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0529" h="774878">
                    <a:moveTo>
                      <a:pt x="114422" y="0"/>
                    </a:moveTo>
                    <a:lnTo>
                      <a:pt x="109588" y="7652"/>
                    </a:lnTo>
                    <a:cubicBezTo>
                      <a:pt x="110796" y="8458"/>
                      <a:pt x="232068" y="89812"/>
                      <a:pt x="232068" y="223120"/>
                    </a:cubicBezTo>
                    <a:lnTo>
                      <a:pt x="232068" y="765615"/>
                    </a:lnTo>
                    <a:lnTo>
                      <a:pt x="9669" y="765615"/>
                    </a:lnTo>
                    <a:lnTo>
                      <a:pt x="16519" y="347970"/>
                    </a:lnTo>
                    <a:cubicBezTo>
                      <a:pt x="13698" y="350387"/>
                      <a:pt x="10475" y="352803"/>
                      <a:pt x="7252" y="354817"/>
                    </a:cubicBezTo>
                    <a:lnTo>
                      <a:pt x="0" y="774878"/>
                    </a:lnTo>
                    <a:lnTo>
                      <a:pt x="240529" y="774878"/>
                    </a:lnTo>
                    <a:lnTo>
                      <a:pt x="240529" y="223120"/>
                    </a:lnTo>
                    <a:cubicBezTo>
                      <a:pt x="240932" y="85382"/>
                      <a:pt x="115631" y="806"/>
                      <a:pt x="114422" y="0"/>
                    </a:cubicBezTo>
                  </a:path>
                </a:pathLst>
              </a:custGeom>
              <a:solidFill>
                <a:srgbClr val="00666B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19" name="Forme libre 418">
                <a:extLst>
                  <a:ext uri="{FF2B5EF4-FFF2-40B4-BE49-F238E27FC236}">
                    <a16:creationId xmlns:a16="http://schemas.microsoft.com/office/drawing/2014/main" id="{F95562CF-0622-594B-A90D-95B80AF2782F}"/>
                  </a:ext>
                </a:extLst>
              </p:cNvPr>
              <p:cNvSpPr/>
              <p:nvPr/>
            </p:nvSpPr>
            <p:spPr>
              <a:xfrm>
                <a:off x="3152990" y="4495102"/>
                <a:ext cx="290487" cy="216675"/>
              </a:xfrm>
              <a:custGeom>
                <a:avLst/>
                <a:gdLst>
                  <a:gd name="connsiteX0" fmla="*/ 252616 w 290487"/>
                  <a:gd name="connsiteY0" fmla="*/ 216676 h 216675"/>
                  <a:gd name="connsiteX1" fmla="*/ 37872 w 290487"/>
                  <a:gd name="connsiteY1" fmla="*/ 216676 h 216675"/>
                  <a:gd name="connsiteX2" fmla="*/ 0 w 290487"/>
                  <a:gd name="connsiteY2" fmla="*/ 178818 h 216675"/>
                  <a:gd name="connsiteX3" fmla="*/ 0 w 290487"/>
                  <a:gd name="connsiteY3" fmla="*/ 37858 h 216675"/>
                  <a:gd name="connsiteX4" fmla="*/ 37872 w 290487"/>
                  <a:gd name="connsiteY4" fmla="*/ 0 h 216675"/>
                  <a:gd name="connsiteX5" fmla="*/ 252616 w 290487"/>
                  <a:gd name="connsiteY5" fmla="*/ 0 h 216675"/>
                  <a:gd name="connsiteX6" fmla="*/ 290488 w 290487"/>
                  <a:gd name="connsiteY6" fmla="*/ 37858 h 216675"/>
                  <a:gd name="connsiteX7" fmla="*/ 290488 w 290487"/>
                  <a:gd name="connsiteY7" fmla="*/ 178818 h 216675"/>
                  <a:gd name="connsiteX8" fmla="*/ 252616 w 290487"/>
                  <a:gd name="connsiteY8" fmla="*/ 216676 h 21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0487" h="216675">
                    <a:moveTo>
                      <a:pt x="252616" y="216676"/>
                    </a:moveTo>
                    <a:lnTo>
                      <a:pt x="37872" y="216676"/>
                    </a:lnTo>
                    <a:cubicBezTo>
                      <a:pt x="16922" y="216676"/>
                      <a:pt x="0" y="199761"/>
                      <a:pt x="0" y="178818"/>
                    </a:cubicBezTo>
                    <a:lnTo>
                      <a:pt x="0" y="37858"/>
                    </a:lnTo>
                    <a:cubicBezTo>
                      <a:pt x="0" y="16915"/>
                      <a:pt x="16922" y="0"/>
                      <a:pt x="37872" y="0"/>
                    </a:cubicBezTo>
                    <a:lnTo>
                      <a:pt x="252616" y="0"/>
                    </a:lnTo>
                    <a:cubicBezTo>
                      <a:pt x="273566" y="0"/>
                      <a:pt x="290488" y="16915"/>
                      <a:pt x="290488" y="37858"/>
                    </a:cubicBezTo>
                    <a:lnTo>
                      <a:pt x="290488" y="178818"/>
                    </a:lnTo>
                    <a:cubicBezTo>
                      <a:pt x="290488" y="199761"/>
                      <a:pt x="273163" y="216676"/>
                      <a:pt x="252616" y="216676"/>
                    </a:cubicBezTo>
                  </a:path>
                </a:pathLst>
              </a:custGeom>
              <a:solidFill>
                <a:srgbClr val="63C1C5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0" name="Forme libre 419">
                <a:extLst>
                  <a:ext uri="{FF2B5EF4-FFF2-40B4-BE49-F238E27FC236}">
                    <a16:creationId xmlns:a16="http://schemas.microsoft.com/office/drawing/2014/main" id="{E9B2CBD9-280E-A141-9995-8BB9CD3FAF2E}"/>
                  </a:ext>
                </a:extLst>
              </p:cNvPr>
              <p:cNvSpPr/>
              <p:nvPr/>
            </p:nvSpPr>
            <p:spPr>
              <a:xfrm>
                <a:off x="3152990" y="4495102"/>
                <a:ext cx="290487" cy="103907"/>
              </a:xfrm>
              <a:custGeom>
                <a:avLst/>
                <a:gdLst>
                  <a:gd name="connsiteX0" fmla="*/ 290488 w 290487"/>
                  <a:gd name="connsiteY0" fmla="*/ 103908 h 103907"/>
                  <a:gd name="connsiteX1" fmla="*/ 290488 w 290487"/>
                  <a:gd name="connsiteY1" fmla="*/ 37858 h 103907"/>
                  <a:gd name="connsiteX2" fmla="*/ 252616 w 290487"/>
                  <a:gd name="connsiteY2" fmla="*/ 0 h 103907"/>
                  <a:gd name="connsiteX3" fmla="*/ 37872 w 290487"/>
                  <a:gd name="connsiteY3" fmla="*/ 0 h 103907"/>
                  <a:gd name="connsiteX4" fmla="*/ 0 w 290487"/>
                  <a:gd name="connsiteY4" fmla="*/ 37858 h 103907"/>
                  <a:gd name="connsiteX5" fmla="*/ 0 w 290487"/>
                  <a:gd name="connsiteY5" fmla="*/ 103908 h 103907"/>
                  <a:gd name="connsiteX6" fmla="*/ 290488 w 290487"/>
                  <a:gd name="connsiteY6" fmla="*/ 103908 h 103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0487" h="103907">
                    <a:moveTo>
                      <a:pt x="290488" y="103908"/>
                    </a:moveTo>
                    <a:lnTo>
                      <a:pt x="290488" y="37858"/>
                    </a:lnTo>
                    <a:cubicBezTo>
                      <a:pt x="290488" y="16915"/>
                      <a:pt x="273566" y="0"/>
                      <a:pt x="252616" y="0"/>
                    </a:cubicBezTo>
                    <a:lnTo>
                      <a:pt x="37872" y="0"/>
                    </a:lnTo>
                    <a:cubicBezTo>
                      <a:pt x="16922" y="0"/>
                      <a:pt x="0" y="16915"/>
                      <a:pt x="0" y="37858"/>
                    </a:cubicBezTo>
                    <a:lnTo>
                      <a:pt x="0" y="103908"/>
                    </a:lnTo>
                    <a:lnTo>
                      <a:pt x="290488" y="103908"/>
                    </a:lnTo>
                    <a:close/>
                  </a:path>
                </a:pathLst>
              </a:custGeom>
              <a:solidFill>
                <a:srgbClr val="FFDB71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1" name="Forme libre 420">
                <a:extLst>
                  <a:ext uri="{FF2B5EF4-FFF2-40B4-BE49-F238E27FC236}">
                    <a16:creationId xmlns:a16="http://schemas.microsoft.com/office/drawing/2014/main" id="{9CB238C9-C78A-7B46-95C3-BF29F18887B7}"/>
                  </a:ext>
                </a:extLst>
              </p:cNvPr>
              <p:cNvSpPr/>
              <p:nvPr/>
            </p:nvSpPr>
            <p:spPr>
              <a:xfrm>
                <a:off x="3378611" y="4495505"/>
                <a:ext cx="66074" cy="216273"/>
              </a:xfrm>
              <a:custGeom>
                <a:avLst/>
                <a:gdLst>
                  <a:gd name="connsiteX0" fmla="*/ 33037 w 66074"/>
                  <a:gd name="connsiteY0" fmla="*/ 216273 h 216273"/>
                  <a:gd name="connsiteX1" fmla="*/ 33037 w 66074"/>
                  <a:gd name="connsiteY1" fmla="*/ 216273 h 216273"/>
                  <a:gd name="connsiteX2" fmla="*/ 0 w 66074"/>
                  <a:gd name="connsiteY2" fmla="*/ 190498 h 216273"/>
                  <a:gd name="connsiteX3" fmla="*/ 0 w 66074"/>
                  <a:gd name="connsiteY3" fmla="*/ 25776 h 216273"/>
                  <a:gd name="connsiteX4" fmla="*/ 33037 w 66074"/>
                  <a:gd name="connsiteY4" fmla="*/ 0 h 216273"/>
                  <a:gd name="connsiteX5" fmla="*/ 66075 w 66074"/>
                  <a:gd name="connsiteY5" fmla="*/ 25776 h 216273"/>
                  <a:gd name="connsiteX6" fmla="*/ 66075 w 66074"/>
                  <a:gd name="connsiteY6" fmla="*/ 183651 h 216273"/>
                  <a:gd name="connsiteX7" fmla="*/ 33037 w 66074"/>
                  <a:gd name="connsiteY7" fmla="*/ 216273 h 21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074" h="216273">
                    <a:moveTo>
                      <a:pt x="33037" y="216273"/>
                    </a:moveTo>
                    <a:lnTo>
                      <a:pt x="33037" y="216273"/>
                    </a:lnTo>
                    <a:cubicBezTo>
                      <a:pt x="14907" y="216273"/>
                      <a:pt x="0" y="208621"/>
                      <a:pt x="0" y="190498"/>
                    </a:cubicBezTo>
                    <a:lnTo>
                      <a:pt x="0" y="25776"/>
                    </a:lnTo>
                    <a:cubicBezTo>
                      <a:pt x="0" y="7652"/>
                      <a:pt x="14907" y="0"/>
                      <a:pt x="33037" y="0"/>
                    </a:cubicBezTo>
                    <a:cubicBezTo>
                      <a:pt x="51168" y="0"/>
                      <a:pt x="66075" y="14902"/>
                      <a:pt x="66075" y="25776"/>
                    </a:cubicBezTo>
                    <a:lnTo>
                      <a:pt x="66075" y="183651"/>
                    </a:lnTo>
                    <a:cubicBezTo>
                      <a:pt x="66075" y="208621"/>
                      <a:pt x="51168" y="216273"/>
                      <a:pt x="33037" y="216273"/>
                    </a:cubicBezTo>
                  </a:path>
                </a:pathLst>
              </a:custGeom>
              <a:solidFill>
                <a:srgbClr val="00666B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2" name="Forme libre 421">
                <a:extLst>
                  <a:ext uri="{FF2B5EF4-FFF2-40B4-BE49-F238E27FC236}">
                    <a16:creationId xmlns:a16="http://schemas.microsoft.com/office/drawing/2014/main" id="{959201F3-7D38-774F-AB00-72128611562A}"/>
                  </a:ext>
                </a:extLst>
              </p:cNvPr>
              <p:cNvSpPr/>
              <p:nvPr/>
            </p:nvSpPr>
            <p:spPr>
              <a:xfrm>
                <a:off x="3254116" y="4563971"/>
                <a:ext cx="20144" cy="70480"/>
              </a:xfrm>
              <a:custGeom>
                <a:avLst/>
                <a:gdLst>
                  <a:gd name="connsiteX0" fmla="*/ 10072 w 20144"/>
                  <a:gd name="connsiteY0" fmla="*/ 70480 h 70480"/>
                  <a:gd name="connsiteX1" fmla="*/ 10072 w 20144"/>
                  <a:gd name="connsiteY1" fmla="*/ 70480 h 70480"/>
                  <a:gd name="connsiteX2" fmla="*/ 0 w 20144"/>
                  <a:gd name="connsiteY2" fmla="*/ 60411 h 70480"/>
                  <a:gd name="connsiteX3" fmla="*/ 0 w 20144"/>
                  <a:gd name="connsiteY3" fmla="*/ 10069 h 70480"/>
                  <a:gd name="connsiteX4" fmla="*/ 10072 w 20144"/>
                  <a:gd name="connsiteY4" fmla="*/ 0 h 70480"/>
                  <a:gd name="connsiteX5" fmla="*/ 20145 w 20144"/>
                  <a:gd name="connsiteY5" fmla="*/ 10069 h 70480"/>
                  <a:gd name="connsiteX6" fmla="*/ 20145 w 20144"/>
                  <a:gd name="connsiteY6" fmla="*/ 60411 h 70480"/>
                  <a:gd name="connsiteX7" fmla="*/ 10072 w 20144"/>
                  <a:gd name="connsiteY7" fmla="*/ 70480 h 70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144" h="70480">
                    <a:moveTo>
                      <a:pt x="10072" y="70480"/>
                    </a:moveTo>
                    <a:lnTo>
                      <a:pt x="10072" y="70480"/>
                    </a:lnTo>
                    <a:cubicBezTo>
                      <a:pt x="4432" y="70480"/>
                      <a:pt x="0" y="66050"/>
                      <a:pt x="0" y="60411"/>
                    </a:cubicBezTo>
                    <a:lnTo>
                      <a:pt x="0" y="10069"/>
                    </a:lnTo>
                    <a:cubicBezTo>
                      <a:pt x="0" y="4430"/>
                      <a:pt x="4432" y="0"/>
                      <a:pt x="10072" y="0"/>
                    </a:cubicBezTo>
                    <a:cubicBezTo>
                      <a:pt x="15713" y="0"/>
                      <a:pt x="20145" y="4430"/>
                      <a:pt x="20145" y="10069"/>
                    </a:cubicBezTo>
                    <a:lnTo>
                      <a:pt x="20145" y="60411"/>
                    </a:lnTo>
                    <a:cubicBezTo>
                      <a:pt x="19742" y="66050"/>
                      <a:pt x="15310" y="70480"/>
                      <a:pt x="10072" y="70480"/>
                    </a:cubicBezTo>
                  </a:path>
                </a:pathLst>
              </a:custGeom>
              <a:solidFill>
                <a:srgbClr val="043C5E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3" name="Forme libre 422">
                <a:extLst>
                  <a:ext uri="{FF2B5EF4-FFF2-40B4-BE49-F238E27FC236}">
                    <a16:creationId xmlns:a16="http://schemas.microsoft.com/office/drawing/2014/main" id="{89D08E58-63EC-FD4D-8F49-4849FE0DC60C}"/>
                  </a:ext>
                </a:extLst>
              </p:cNvPr>
              <p:cNvSpPr/>
              <p:nvPr/>
            </p:nvSpPr>
            <p:spPr>
              <a:xfrm>
                <a:off x="3499077" y="3807768"/>
                <a:ext cx="98790" cy="140811"/>
              </a:xfrm>
              <a:custGeom>
                <a:avLst/>
                <a:gdLst>
                  <a:gd name="connsiteX0" fmla="*/ 19742 w 98790"/>
                  <a:gd name="connsiteY0" fmla="*/ 135575 h 140811"/>
                  <a:gd name="connsiteX1" fmla="*/ 0 w 98790"/>
                  <a:gd name="connsiteY1" fmla="*/ 55430 h 140811"/>
                  <a:gd name="connsiteX2" fmla="*/ 32634 w 98790"/>
                  <a:gd name="connsiteY2" fmla="*/ 3073 h 140811"/>
                  <a:gd name="connsiteX3" fmla="*/ 50765 w 98790"/>
                  <a:gd name="connsiteY3" fmla="*/ 2670 h 140811"/>
                  <a:gd name="connsiteX4" fmla="*/ 97501 w 98790"/>
                  <a:gd name="connsiteY4" fmla="*/ 39723 h 140811"/>
                  <a:gd name="connsiteX5" fmla="*/ 96695 w 98790"/>
                  <a:gd name="connsiteY5" fmla="*/ 53416 h 140811"/>
                  <a:gd name="connsiteX6" fmla="*/ 80579 w 98790"/>
                  <a:gd name="connsiteY6" fmla="*/ 84024 h 140811"/>
                  <a:gd name="connsiteX7" fmla="*/ 66075 w 98790"/>
                  <a:gd name="connsiteY7" fmla="*/ 140811 h 140811"/>
                  <a:gd name="connsiteX8" fmla="*/ 19742 w 98790"/>
                  <a:gd name="connsiteY8" fmla="*/ 135575 h 140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790" h="140811">
                    <a:moveTo>
                      <a:pt x="19742" y="135575"/>
                    </a:moveTo>
                    <a:lnTo>
                      <a:pt x="0" y="55430"/>
                    </a:lnTo>
                    <a:cubicBezTo>
                      <a:pt x="0" y="55430"/>
                      <a:pt x="14907" y="15961"/>
                      <a:pt x="32634" y="3073"/>
                    </a:cubicBezTo>
                    <a:cubicBezTo>
                      <a:pt x="37872" y="-955"/>
                      <a:pt x="45527" y="-955"/>
                      <a:pt x="50765" y="2670"/>
                    </a:cubicBezTo>
                    <a:cubicBezTo>
                      <a:pt x="63657" y="11128"/>
                      <a:pt x="93472" y="31265"/>
                      <a:pt x="97501" y="39723"/>
                    </a:cubicBezTo>
                    <a:cubicBezTo>
                      <a:pt x="99515" y="44153"/>
                      <a:pt x="99112" y="48986"/>
                      <a:pt x="96695" y="53416"/>
                    </a:cubicBezTo>
                    <a:lnTo>
                      <a:pt x="80579" y="84024"/>
                    </a:lnTo>
                    <a:lnTo>
                      <a:pt x="66075" y="140811"/>
                    </a:lnTo>
                    <a:lnTo>
                      <a:pt x="19742" y="135575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4" name="Forme libre 423">
                <a:extLst>
                  <a:ext uri="{FF2B5EF4-FFF2-40B4-BE49-F238E27FC236}">
                    <a16:creationId xmlns:a16="http://schemas.microsoft.com/office/drawing/2014/main" id="{793536CD-534B-814F-8813-168C5B6CBE75}"/>
                  </a:ext>
                </a:extLst>
              </p:cNvPr>
              <p:cNvSpPr/>
              <p:nvPr/>
            </p:nvSpPr>
            <p:spPr>
              <a:xfrm>
                <a:off x="3052332" y="3764525"/>
                <a:ext cx="357402" cy="693926"/>
              </a:xfrm>
              <a:custGeom>
                <a:avLst/>
                <a:gdLst>
                  <a:gd name="connsiteX0" fmla="*/ 117176 w 357402"/>
                  <a:gd name="connsiteY0" fmla="*/ 0 h 693926"/>
                  <a:gd name="connsiteX1" fmla="*/ 213066 w 357402"/>
                  <a:gd name="connsiteY1" fmla="*/ 11277 h 693926"/>
                  <a:gd name="connsiteX2" fmla="*/ 347633 w 357402"/>
                  <a:gd name="connsiteY2" fmla="*/ 214662 h 693926"/>
                  <a:gd name="connsiteX3" fmla="*/ 347230 w 357402"/>
                  <a:gd name="connsiteY3" fmla="*/ 308099 h 693926"/>
                  <a:gd name="connsiteX4" fmla="*/ 293645 w 357402"/>
                  <a:gd name="connsiteY4" fmla="*/ 693927 h 693926"/>
                  <a:gd name="connsiteX5" fmla="*/ 66412 w 357402"/>
                  <a:gd name="connsiteY5" fmla="*/ 693927 h 693926"/>
                  <a:gd name="connsiteX6" fmla="*/ 117176 w 357402"/>
                  <a:gd name="connsiteY6" fmla="*/ 0 h 693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7402" h="693926">
                    <a:moveTo>
                      <a:pt x="117176" y="0"/>
                    </a:moveTo>
                    <a:cubicBezTo>
                      <a:pt x="194935" y="0"/>
                      <a:pt x="213066" y="11277"/>
                      <a:pt x="213066" y="11277"/>
                    </a:cubicBezTo>
                    <a:cubicBezTo>
                      <a:pt x="213066" y="11277"/>
                      <a:pt x="312581" y="134919"/>
                      <a:pt x="347633" y="214662"/>
                    </a:cubicBezTo>
                    <a:cubicBezTo>
                      <a:pt x="360525" y="244465"/>
                      <a:pt x="360928" y="278698"/>
                      <a:pt x="347230" y="308099"/>
                    </a:cubicBezTo>
                    <a:cubicBezTo>
                      <a:pt x="285990" y="440198"/>
                      <a:pt x="293645" y="693927"/>
                      <a:pt x="293645" y="693927"/>
                    </a:cubicBezTo>
                    <a:lnTo>
                      <a:pt x="66412" y="693927"/>
                    </a:lnTo>
                    <a:cubicBezTo>
                      <a:pt x="76484" y="504637"/>
                      <a:pt x="-118920" y="35844"/>
                      <a:pt x="117176" y="0"/>
                    </a:cubicBezTo>
                  </a:path>
                </a:pathLst>
              </a:custGeom>
              <a:solidFill>
                <a:srgbClr val="FFD248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5" name="Forme libre 424">
                <a:extLst>
                  <a:ext uri="{FF2B5EF4-FFF2-40B4-BE49-F238E27FC236}">
                    <a16:creationId xmlns:a16="http://schemas.microsoft.com/office/drawing/2014/main" id="{8DB26486-B960-E84D-9791-3793758875B3}"/>
                  </a:ext>
                </a:extLst>
              </p:cNvPr>
              <p:cNvSpPr/>
              <p:nvPr/>
            </p:nvSpPr>
            <p:spPr>
              <a:xfrm>
                <a:off x="3386266" y="5793949"/>
                <a:ext cx="156726" cy="118574"/>
              </a:xfrm>
              <a:custGeom>
                <a:avLst/>
                <a:gdLst>
                  <a:gd name="connsiteX0" fmla="*/ 61643 w 156726"/>
                  <a:gd name="connsiteY0" fmla="*/ 0 h 118574"/>
                  <a:gd name="connsiteX1" fmla="*/ 75341 w 156726"/>
                  <a:gd name="connsiteY1" fmla="*/ 47121 h 118574"/>
                  <a:gd name="connsiteX2" fmla="*/ 97098 w 156726"/>
                  <a:gd name="connsiteY2" fmla="*/ 78535 h 118574"/>
                  <a:gd name="connsiteX3" fmla="*/ 156726 w 156726"/>
                  <a:gd name="connsiteY3" fmla="*/ 105519 h 118574"/>
                  <a:gd name="connsiteX4" fmla="*/ 32232 w 156726"/>
                  <a:gd name="connsiteY4" fmla="*/ 82562 h 118574"/>
                  <a:gd name="connsiteX5" fmla="*/ 4432 w 156726"/>
                  <a:gd name="connsiteY5" fmla="*/ 35844 h 118574"/>
                  <a:gd name="connsiteX6" fmla="*/ 0 w 156726"/>
                  <a:gd name="connsiteY6" fmla="*/ 403 h 118574"/>
                  <a:gd name="connsiteX7" fmla="*/ 61643 w 156726"/>
                  <a:gd name="connsiteY7" fmla="*/ 403 h 11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6726" h="118574">
                    <a:moveTo>
                      <a:pt x="61643" y="0"/>
                    </a:moveTo>
                    <a:lnTo>
                      <a:pt x="75341" y="47121"/>
                    </a:lnTo>
                    <a:cubicBezTo>
                      <a:pt x="78565" y="60009"/>
                      <a:pt x="86220" y="70883"/>
                      <a:pt x="97098" y="78535"/>
                    </a:cubicBezTo>
                    <a:cubicBezTo>
                      <a:pt x="109185" y="86590"/>
                      <a:pt x="128121" y="96658"/>
                      <a:pt x="156726" y="105519"/>
                    </a:cubicBezTo>
                    <a:cubicBezTo>
                      <a:pt x="117645" y="136530"/>
                      <a:pt x="62852" y="105519"/>
                      <a:pt x="32232" y="82562"/>
                    </a:cubicBezTo>
                    <a:cubicBezTo>
                      <a:pt x="17324" y="71285"/>
                      <a:pt x="7252" y="54773"/>
                      <a:pt x="4432" y="35844"/>
                    </a:cubicBezTo>
                    <a:lnTo>
                      <a:pt x="0" y="403"/>
                    </a:lnTo>
                    <a:lnTo>
                      <a:pt x="61643" y="403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6" name="Forme libre 425">
                <a:extLst>
                  <a:ext uri="{FF2B5EF4-FFF2-40B4-BE49-F238E27FC236}">
                    <a16:creationId xmlns:a16="http://schemas.microsoft.com/office/drawing/2014/main" id="{4787CE0C-98D3-D14E-BF12-F4A3218A3C94}"/>
                  </a:ext>
                </a:extLst>
              </p:cNvPr>
              <p:cNvSpPr/>
              <p:nvPr/>
            </p:nvSpPr>
            <p:spPr>
              <a:xfrm>
                <a:off x="3363950" y="5818516"/>
                <a:ext cx="224455" cy="125655"/>
              </a:xfrm>
              <a:custGeom>
                <a:avLst/>
                <a:gdLst>
                  <a:gd name="connsiteX0" fmla="*/ 23928 w 224455"/>
                  <a:gd name="connsiteY0" fmla="*/ 0 h 125655"/>
                  <a:gd name="connsiteX1" fmla="*/ 158 w 224455"/>
                  <a:gd name="connsiteY1" fmla="*/ 43899 h 125655"/>
                  <a:gd name="connsiteX2" fmla="*/ 3784 w 224455"/>
                  <a:gd name="connsiteY2" fmla="*/ 125656 h 125655"/>
                  <a:gd name="connsiteX3" fmla="*/ 28763 w 224455"/>
                  <a:gd name="connsiteY3" fmla="*/ 125656 h 125655"/>
                  <a:gd name="connsiteX4" fmla="*/ 32792 w 224455"/>
                  <a:gd name="connsiteY4" fmla="*/ 72091 h 125655"/>
                  <a:gd name="connsiteX5" fmla="*/ 90809 w 224455"/>
                  <a:gd name="connsiteY5" fmla="*/ 125656 h 125655"/>
                  <a:gd name="connsiteX6" fmla="*/ 223765 w 224455"/>
                  <a:gd name="connsiteY6" fmla="*/ 125656 h 125655"/>
                  <a:gd name="connsiteX7" fmla="*/ 158898 w 224455"/>
                  <a:gd name="connsiteY7" fmla="*/ 78132 h 125655"/>
                  <a:gd name="connsiteX8" fmla="*/ 23928 w 224455"/>
                  <a:gd name="connsiteY8" fmla="*/ 0 h 1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4455" h="125655">
                    <a:moveTo>
                      <a:pt x="23928" y="0"/>
                    </a:moveTo>
                    <a:cubicBezTo>
                      <a:pt x="23928" y="0"/>
                      <a:pt x="-2260" y="19332"/>
                      <a:pt x="158" y="43899"/>
                    </a:cubicBezTo>
                    <a:cubicBezTo>
                      <a:pt x="2575" y="68466"/>
                      <a:pt x="3784" y="125656"/>
                      <a:pt x="3784" y="125656"/>
                    </a:cubicBezTo>
                    <a:lnTo>
                      <a:pt x="28763" y="125656"/>
                    </a:lnTo>
                    <a:lnTo>
                      <a:pt x="32792" y="72091"/>
                    </a:lnTo>
                    <a:cubicBezTo>
                      <a:pt x="33195" y="68466"/>
                      <a:pt x="81945" y="125656"/>
                      <a:pt x="90809" y="125656"/>
                    </a:cubicBezTo>
                    <a:lnTo>
                      <a:pt x="223765" y="125656"/>
                    </a:lnTo>
                    <a:cubicBezTo>
                      <a:pt x="223765" y="125656"/>
                      <a:pt x="235852" y="89409"/>
                      <a:pt x="158898" y="78132"/>
                    </a:cubicBezTo>
                    <a:cubicBezTo>
                      <a:pt x="81945" y="66050"/>
                      <a:pt x="23928" y="0"/>
                      <a:pt x="23928" y="0"/>
                    </a:cubicBezTo>
                  </a:path>
                </a:pathLst>
              </a:custGeom>
              <a:solidFill>
                <a:srgbClr val="043C5E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7" name="Forme libre 426">
                <a:extLst>
                  <a:ext uri="{FF2B5EF4-FFF2-40B4-BE49-F238E27FC236}">
                    <a16:creationId xmlns:a16="http://schemas.microsoft.com/office/drawing/2014/main" id="{71F772A5-E889-494E-8160-1D3909D9E2EB}"/>
                  </a:ext>
                </a:extLst>
              </p:cNvPr>
              <p:cNvSpPr/>
              <p:nvPr/>
            </p:nvSpPr>
            <p:spPr>
              <a:xfrm>
                <a:off x="3111792" y="4458452"/>
                <a:ext cx="343369" cy="1340329"/>
              </a:xfrm>
              <a:custGeom>
                <a:avLst/>
                <a:gdLst>
                  <a:gd name="connsiteX0" fmla="*/ 234185 w 343369"/>
                  <a:gd name="connsiteY0" fmla="*/ 0 h 1340329"/>
                  <a:gd name="connsiteX1" fmla="*/ 343369 w 343369"/>
                  <a:gd name="connsiteY1" fmla="*/ 1338719 h 1340329"/>
                  <a:gd name="connsiteX2" fmla="*/ 268834 w 343369"/>
                  <a:gd name="connsiteY2" fmla="*/ 1340330 h 1340329"/>
                  <a:gd name="connsiteX3" fmla="*/ 128223 w 343369"/>
                  <a:gd name="connsiteY3" fmla="*/ 826027 h 1340329"/>
                  <a:gd name="connsiteX4" fmla="*/ 106869 w 343369"/>
                  <a:gd name="connsiteY4" fmla="*/ 718897 h 1340329"/>
                  <a:gd name="connsiteX5" fmla="*/ 21859 w 343369"/>
                  <a:gd name="connsiteY5" fmla="*/ 138946 h 1340329"/>
                  <a:gd name="connsiteX6" fmla="*/ 138295 w 343369"/>
                  <a:gd name="connsiteY6" fmla="*/ 806 h 1340329"/>
                  <a:gd name="connsiteX7" fmla="*/ 234185 w 343369"/>
                  <a:gd name="connsiteY7" fmla="*/ 806 h 134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3369" h="1340329">
                    <a:moveTo>
                      <a:pt x="234185" y="0"/>
                    </a:moveTo>
                    <a:lnTo>
                      <a:pt x="343369" y="1338719"/>
                    </a:lnTo>
                    <a:lnTo>
                      <a:pt x="268834" y="1340330"/>
                    </a:lnTo>
                    <a:cubicBezTo>
                      <a:pt x="268834" y="1340330"/>
                      <a:pt x="131043" y="1059215"/>
                      <a:pt x="128223" y="826027"/>
                    </a:cubicBezTo>
                    <a:cubicBezTo>
                      <a:pt x="127820" y="787363"/>
                      <a:pt x="129432" y="748297"/>
                      <a:pt x="106869" y="718897"/>
                    </a:cubicBezTo>
                    <a:cubicBezTo>
                      <a:pt x="-64764" y="494166"/>
                      <a:pt x="21859" y="138946"/>
                      <a:pt x="21859" y="138946"/>
                    </a:cubicBezTo>
                    <a:lnTo>
                      <a:pt x="138295" y="806"/>
                    </a:lnTo>
                    <a:lnTo>
                      <a:pt x="234185" y="806"/>
                    </a:lnTo>
                    <a:close/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8" name="Forme libre 427">
                <a:extLst>
                  <a:ext uri="{FF2B5EF4-FFF2-40B4-BE49-F238E27FC236}">
                    <a16:creationId xmlns:a16="http://schemas.microsoft.com/office/drawing/2014/main" id="{AC340E22-D479-264D-B3D2-0190B2C7690D}"/>
                  </a:ext>
                </a:extLst>
              </p:cNvPr>
              <p:cNvSpPr/>
              <p:nvPr/>
            </p:nvSpPr>
            <p:spPr>
              <a:xfrm>
                <a:off x="2984579" y="5793949"/>
                <a:ext cx="166395" cy="118574"/>
              </a:xfrm>
              <a:custGeom>
                <a:avLst/>
                <a:gdLst>
                  <a:gd name="connsiteX0" fmla="*/ 61643 w 166395"/>
                  <a:gd name="connsiteY0" fmla="*/ 0 h 118574"/>
                  <a:gd name="connsiteX1" fmla="*/ 79773 w 166395"/>
                  <a:gd name="connsiteY1" fmla="*/ 47121 h 118574"/>
                  <a:gd name="connsiteX2" fmla="*/ 104350 w 166395"/>
                  <a:gd name="connsiteY2" fmla="*/ 78535 h 118574"/>
                  <a:gd name="connsiteX3" fmla="*/ 166396 w 166395"/>
                  <a:gd name="connsiteY3" fmla="*/ 105519 h 118574"/>
                  <a:gd name="connsiteX4" fmla="*/ 39887 w 166395"/>
                  <a:gd name="connsiteY4" fmla="*/ 82562 h 118574"/>
                  <a:gd name="connsiteX5" fmla="*/ 7655 w 166395"/>
                  <a:gd name="connsiteY5" fmla="*/ 35844 h 118574"/>
                  <a:gd name="connsiteX6" fmla="*/ 0 w 166395"/>
                  <a:gd name="connsiteY6" fmla="*/ 403 h 118574"/>
                  <a:gd name="connsiteX7" fmla="*/ 61643 w 166395"/>
                  <a:gd name="connsiteY7" fmla="*/ 403 h 118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6395" h="118574">
                    <a:moveTo>
                      <a:pt x="61643" y="0"/>
                    </a:moveTo>
                    <a:lnTo>
                      <a:pt x="79773" y="47121"/>
                    </a:lnTo>
                    <a:cubicBezTo>
                      <a:pt x="84205" y="60009"/>
                      <a:pt x="93069" y="70883"/>
                      <a:pt x="104350" y="78535"/>
                    </a:cubicBezTo>
                    <a:cubicBezTo>
                      <a:pt x="117243" y="86590"/>
                      <a:pt x="136985" y="96658"/>
                      <a:pt x="166396" y="105519"/>
                    </a:cubicBezTo>
                    <a:cubicBezTo>
                      <a:pt x="130135" y="136530"/>
                      <a:pt x="72521" y="105519"/>
                      <a:pt x="39887" y="82562"/>
                    </a:cubicBezTo>
                    <a:cubicBezTo>
                      <a:pt x="23771" y="71285"/>
                      <a:pt x="12490" y="54773"/>
                      <a:pt x="7655" y="35844"/>
                    </a:cubicBezTo>
                    <a:lnTo>
                      <a:pt x="0" y="403"/>
                    </a:lnTo>
                    <a:lnTo>
                      <a:pt x="61643" y="403"/>
                    </a:lnTo>
                    <a:close/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29" name="Forme libre 428">
                <a:extLst>
                  <a:ext uri="{FF2B5EF4-FFF2-40B4-BE49-F238E27FC236}">
                    <a16:creationId xmlns:a16="http://schemas.microsoft.com/office/drawing/2014/main" id="{0F3FE865-BC3C-7043-892D-406D920FE587}"/>
                  </a:ext>
                </a:extLst>
              </p:cNvPr>
              <p:cNvSpPr/>
              <p:nvPr/>
            </p:nvSpPr>
            <p:spPr>
              <a:xfrm>
                <a:off x="2967929" y="5818516"/>
                <a:ext cx="232099" cy="125655"/>
              </a:xfrm>
              <a:custGeom>
                <a:avLst/>
                <a:gdLst>
                  <a:gd name="connsiteX0" fmla="*/ 20679 w 232099"/>
                  <a:gd name="connsiteY0" fmla="*/ 0 h 125655"/>
                  <a:gd name="connsiteX1" fmla="*/ 535 w 232099"/>
                  <a:gd name="connsiteY1" fmla="*/ 43899 h 125655"/>
                  <a:gd name="connsiteX2" fmla="*/ 11413 w 232099"/>
                  <a:gd name="connsiteY2" fmla="*/ 125656 h 125655"/>
                  <a:gd name="connsiteX3" fmla="*/ 36392 w 232099"/>
                  <a:gd name="connsiteY3" fmla="*/ 125656 h 125655"/>
                  <a:gd name="connsiteX4" fmla="*/ 35587 w 232099"/>
                  <a:gd name="connsiteY4" fmla="*/ 72091 h 125655"/>
                  <a:gd name="connsiteX5" fmla="*/ 98841 w 232099"/>
                  <a:gd name="connsiteY5" fmla="*/ 125656 h 125655"/>
                  <a:gd name="connsiteX6" fmla="*/ 231797 w 232099"/>
                  <a:gd name="connsiteY6" fmla="*/ 125656 h 125655"/>
                  <a:gd name="connsiteX7" fmla="*/ 162499 w 232099"/>
                  <a:gd name="connsiteY7" fmla="*/ 78132 h 125655"/>
                  <a:gd name="connsiteX8" fmla="*/ 20679 w 232099"/>
                  <a:gd name="connsiteY8" fmla="*/ 0 h 125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2099" h="125655">
                    <a:moveTo>
                      <a:pt x="20679" y="0"/>
                    </a:moveTo>
                    <a:cubicBezTo>
                      <a:pt x="20679" y="0"/>
                      <a:pt x="-3897" y="19332"/>
                      <a:pt x="535" y="43899"/>
                    </a:cubicBezTo>
                    <a:cubicBezTo>
                      <a:pt x="4966" y="68466"/>
                      <a:pt x="11413" y="125656"/>
                      <a:pt x="11413" y="125656"/>
                    </a:cubicBezTo>
                    <a:lnTo>
                      <a:pt x="36392" y="125656"/>
                    </a:lnTo>
                    <a:lnTo>
                      <a:pt x="35587" y="72091"/>
                    </a:lnTo>
                    <a:cubicBezTo>
                      <a:pt x="35587" y="68466"/>
                      <a:pt x="89575" y="125656"/>
                      <a:pt x="98841" y="125656"/>
                    </a:cubicBezTo>
                    <a:lnTo>
                      <a:pt x="231797" y="125656"/>
                    </a:lnTo>
                    <a:cubicBezTo>
                      <a:pt x="231797" y="125656"/>
                      <a:pt x="240660" y="89409"/>
                      <a:pt x="162499" y="78132"/>
                    </a:cubicBezTo>
                    <a:cubicBezTo>
                      <a:pt x="84337" y="66050"/>
                      <a:pt x="20679" y="0"/>
                      <a:pt x="20679" y="0"/>
                    </a:cubicBezTo>
                  </a:path>
                </a:pathLst>
              </a:custGeom>
              <a:solidFill>
                <a:srgbClr val="043C5E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0" name="Forme libre 429">
                <a:extLst>
                  <a:ext uri="{FF2B5EF4-FFF2-40B4-BE49-F238E27FC236}">
                    <a16:creationId xmlns:a16="http://schemas.microsoft.com/office/drawing/2014/main" id="{5839DC70-B3E0-5B44-B360-63573105A424}"/>
                  </a:ext>
                </a:extLst>
              </p:cNvPr>
              <p:cNvSpPr/>
              <p:nvPr/>
            </p:nvSpPr>
            <p:spPr>
              <a:xfrm>
                <a:off x="3187639" y="3623968"/>
                <a:ext cx="89442" cy="236007"/>
              </a:xfrm>
              <a:custGeom>
                <a:avLst/>
                <a:gdLst>
                  <a:gd name="connsiteX0" fmla="*/ 89443 w 89442"/>
                  <a:gd name="connsiteY0" fmla="*/ 86993 h 236007"/>
                  <a:gd name="connsiteX1" fmla="*/ 89443 w 89442"/>
                  <a:gd name="connsiteY1" fmla="*/ 236008 h 236007"/>
                  <a:gd name="connsiteX2" fmla="*/ 0 w 89442"/>
                  <a:gd name="connsiteY2" fmla="*/ 138544 h 236007"/>
                  <a:gd name="connsiteX3" fmla="*/ 9670 w 89442"/>
                  <a:gd name="connsiteY3" fmla="*/ 0 h 236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442" h="236007">
                    <a:moveTo>
                      <a:pt x="89443" y="86993"/>
                    </a:moveTo>
                    <a:lnTo>
                      <a:pt x="89443" y="236008"/>
                    </a:lnTo>
                    <a:lnTo>
                      <a:pt x="0" y="138544"/>
                    </a:lnTo>
                    <a:lnTo>
                      <a:pt x="9670" y="0"/>
                    </a:lnTo>
                    <a:close/>
                  </a:path>
                </a:pathLst>
              </a:custGeom>
              <a:solidFill>
                <a:srgbClr val="F4A086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1" name="Forme libre 430">
                <a:extLst>
                  <a:ext uri="{FF2B5EF4-FFF2-40B4-BE49-F238E27FC236}">
                    <a16:creationId xmlns:a16="http://schemas.microsoft.com/office/drawing/2014/main" id="{75F14864-1EF9-5442-83EF-F3F332947423}"/>
                  </a:ext>
                </a:extLst>
              </p:cNvPr>
              <p:cNvSpPr/>
              <p:nvPr/>
            </p:nvSpPr>
            <p:spPr>
              <a:xfrm>
                <a:off x="3091513" y="3428212"/>
                <a:ext cx="274953" cy="414445"/>
              </a:xfrm>
              <a:custGeom>
                <a:avLst/>
                <a:gdLst>
                  <a:gd name="connsiteX0" fmla="*/ 200475 w 274953"/>
                  <a:gd name="connsiteY0" fmla="*/ 65267 h 414445"/>
                  <a:gd name="connsiteX1" fmla="*/ 107809 w 274953"/>
                  <a:gd name="connsiteY1" fmla="*/ 153065 h 414445"/>
                  <a:gd name="connsiteX2" fmla="*/ 108615 w 274953"/>
                  <a:gd name="connsiteY2" fmla="*/ 387865 h 414445"/>
                  <a:gd name="connsiteX3" fmla="*/ 1042 w 274953"/>
                  <a:gd name="connsiteY3" fmla="*/ 295234 h 414445"/>
                  <a:gd name="connsiteX4" fmla="*/ 19575 w 274953"/>
                  <a:gd name="connsiteY4" fmla="*/ 73725 h 414445"/>
                  <a:gd name="connsiteX5" fmla="*/ 200475 w 274953"/>
                  <a:gd name="connsiteY5" fmla="*/ 17341 h 414445"/>
                  <a:gd name="connsiteX6" fmla="*/ 262118 w 274953"/>
                  <a:gd name="connsiteY6" fmla="*/ 101917 h 414445"/>
                  <a:gd name="connsiteX7" fmla="*/ 268565 w 274953"/>
                  <a:gd name="connsiteY7" fmla="*/ 242072 h 414445"/>
                  <a:gd name="connsiteX8" fmla="*/ 231901 w 274953"/>
                  <a:gd name="connsiteY8" fmla="*/ 414446 h 414445"/>
                  <a:gd name="connsiteX9" fmla="*/ 185971 w 274953"/>
                  <a:gd name="connsiteY9" fmla="*/ 368936 h 414445"/>
                  <a:gd name="connsiteX10" fmla="*/ 185568 w 274953"/>
                  <a:gd name="connsiteY10" fmla="*/ 282749 h 414445"/>
                  <a:gd name="connsiteX11" fmla="*/ 200475 w 274953"/>
                  <a:gd name="connsiteY11" fmla="*/ 65267 h 414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4953" h="414445">
                    <a:moveTo>
                      <a:pt x="200475" y="65267"/>
                    </a:moveTo>
                    <a:cubicBezTo>
                      <a:pt x="138429" y="73725"/>
                      <a:pt x="107809" y="153065"/>
                      <a:pt x="107809" y="153065"/>
                    </a:cubicBezTo>
                    <a:lnTo>
                      <a:pt x="108615" y="387865"/>
                    </a:lnTo>
                    <a:lnTo>
                      <a:pt x="1042" y="295234"/>
                    </a:lnTo>
                    <a:cubicBezTo>
                      <a:pt x="1042" y="295234"/>
                      <a:pt x="-6613" y="189312"/>
                      <a:pt x="19575" y="73725"/>
                    </a:cubicBezTo>
                    <a:cubicBezTo>
                      <a:pt x="42540" y="828"/>
                      <a:pt x="135206" y="-18101"/>
                      <a:pt x="200475" y="17341"/>
                    </a:cubicBezTo>
                    <a:cubicBezTo>
                      <a:pt x="232304" y="34659"/>
                      <a:pt x="250837" y="68489"/>
                      <a:pt x="262118" y="101917"/>
                    </a:cubicBezTo>
                    <a:cubicBezTo>
                      <a:pt x="277025" y="147024"/>
                      <a:pt x="278637" y="195756"/>
                      <a:pt x="268565" y="242072"/>
                    </a:cubicBezTo>
                    <a:lnTo>
                      <a:pt x="231901" y="414446"/>
                    </a:lnTo>
                    <a:lnTo>
                      <a:pt x="185971" y="368936"/>
                    </a:lnTo>
                    <a:cubicBezTo>
                      <a:pt x="185971" y="368936"/>
                      <a:pt x="174287" y="325037"/>
                      <a:pt x="185568" y="282749"/>
                    </a:cubicBezTo>
                    <a:cubicBezTo>
                      <a:pt x="208936" y="196159"/>
                      <a:pt x="241974" y="59629"/>
                      <a:pt x="200475" y="65267"/>
                    </a:cubicBezTo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2" name="Forme libre 431">
                <a:extLst>
                  <a:ext uri="{FF2B5EF4-FFF2-40B4-BE49-F238E27FC236}">
                    <a16:creationId xmlns:a16="http://schemas.microsoft.com/office/drawing/2014/main" id="{C5431E52-2188-7541-A462-F58C6751814A}"/>
                  </a:ext>
                </a:extLst>
              </p:cNvPr>
              <p:cNvSpPr/>
              <p:nvPr/>
            </p:nvSpPr>
            <p:spPr>
              <a:xfrm>
                <a:off x="3176576" y="3580071"/>
                <a:ext cx="41344" cy="38660"/>
              </a:xfrm>
              <a:custGeom>
                <a:avLst/>
                <a:gdLst>
                  <a:gd name="connsiteX0" fmla="*/ 4214 w 41344"/>
                  <a:gd name="connsiteY0" fmla="*/ 4429 h 38660"/>
                  <a:gd name="connsiteX1" fmla="*/ 33222 w 41344"/>
                  <a:gd name="connsiteY1" fmla="*/ 7248 h 38660"/>
                  <a:gd name="connsiteX2" fmla="*/ 37251 w 41344"/>
                  <a:gd name="connsiteY2" fmla="*/ 34232 h 38660"/>
                  <a:gd name="connsiteX3" fmla="*/ 8243 w 41344"/>
                  <a:gd name="connsiteY3" fmla="*/ 31412 h 38660"/>
                  <a:gd name="connsiteX4" fmla="*/ 4214 w 41344"/>
                  <a:gd name="connsiteY4" fmla="*/ 4429 h 38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344" h="38660">
                    <a:moveTo>
                      <a:pt x="4214" y="4429"/>
                    </a:moveTo>
                    <a:cubicBezTo>
                      <a:pt x="11063" y="-2418"/>
                      <a:pt x="23955" y="-1210"/>
                      <a:pt x="33222" y="7248"/>
                    </a:cubicBezTo>
                    <a:cubicBezTo>
                      <a:pt x="42086" y="15705"/>
                      <a:pt x="44100" y="27788"/>
                      <a:pt x="37251" y="34232"/>
                    </a:cubicBezTo>
                    <a:cubicBezTo>
                      <a:pt x="30402" y="41078"/>
                      <a:pt x="17509" y="39870"/>
                      <a:pt x="8243" y="31412"/>
                    </a:cubicBezTo>
                    <a:cubicBezTo>
                      <a:pt x="-1024" y="23358"/>
                      <a:pt x="-2636" y="11275"/>
                      <a:pt x="4214" y="4429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3" name="Forme libre 432">
                <a:extLst>
                  <a:ext uri="{FF2B5EF4-FFF2-40B4-BE49-F238E27FC236}">
                    <a16:creationId xmlns:a16="http://schemas.microsoft.com/office/drawing/2014/main" id="{F16CA6DD-F85D-B048-B9A1-E2F9A3B544C0}"/>
                  </a:ext>
                </a:extLst>
              </p:cNvPr>
              <p:cNvSpPr/>
              <p:nvPr/>
            </p:nvSpPr>
            <p:spPr>
              <a:xfrm>
                <a:off x="3197223" y="3476161"/>
                <a:ext cx="148891" cy="236870"/>
              </a:xfrm>
              <a:custGeom>
                <a:avLst/>
                <a:gdLst>
                  <a:gd name="connsiteX0" fmla="*/ 105644 w 148891"/>
                  <a:gd name="connsiteY0" fmla="*/ 236813 h 236870"/>
                  <a:gd name="connsiteX1" fmla="*/ 134653 w 148891"/>
                  <a:gd name="connsiteY1" fmla="*/ 229161 h 236870"/>
                  <a:gd name="connsiteX2" fmla="*/ 129818 w 148891"/>
                  <a:gd name="connsiteY2" fmla="*/ 25373 h 236870"/>
                  <a:gd name="connsiteX3" fmla="*/ 74621 w 148891"/>
                  <a:gd name="connsiteY3" fmla="*/ 0 h 236870"/>
                  <a:gd name="connsiteX4" fmla="*/ 4114 w 148891"/>
                  <a:gd name="connsiteY4" fmla="*/ 48329 h 236870"/>
                  <a:gd name="connsiteX5" fmla="*/ 85 w 148891"/>
                  <a:gd name="connsiteY5" fmla="*/ 147807 h 236870"/>
                  <a:gd name="connsiteX6" fmla="*/ 31511 w 148891"/>
                  <a:gd name="connsiteY6" fmla="*/ 216273 h 236870"/>
                  <a:gd name="connsiteX7" fmla="*/ 105644 w 148891"/>
                  <a:gd name="connsiteY7" fmla="*/ 236813 h 236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891" h="236870">
                    <a:moveTo>
                      <a:pt x="105644" y="236813"/>
                    </a:moveTo>
                    <a:cubicBezTo>
                      <a:pt x="117731" y="236410"/>
                      <a:pt x="128609" y="234397"/>
                      <a:pt x="134653" y="229161"/>
                    </a:cubicBezTo>
                    <a:cubicBezTo>
                      <a:pt x="169302" y="173985"/>
                      <a:pt x="129818" y="25373"/>
                      <a:pt x="129818" y="25373"/>
                    </a:cubicBezTo>
                    <a:lnTo>
                      <a:pt x="74621" y="0"/>
                    </a:lnTo>
                    <a:lnTo>
                      <a:pt x="4114" y="48329"/>
                    </a:lnTo>
                    <a:lnTo>
                      <a:pt x="85" y="147807"/>
                    </a:lnTo>
                    <a:cubicBezTo>
                      <a:pt x="-1123" y="174388"/>
                      <a:pt x="10561" y="199761"/>
                      <a:pt x="31511" y="216273"/>
                    </a:cubicBezTo>
                    <a:cubicBezTo>
                      <a:pt x="53670" y="229966"/>
                      <a:pt x="79456" y="237619"/>
                      <a:pt x="105644" y="236813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4" name="Forme libre 433">
                <a:extLst>
                  <a:ext uri="{FF2B5EF4-FFF2-40B4-BE49-F238E27FC236}">
                    <a16:creationId xmlns:a16="http://schemas.microsoft.com/office/drawing/2014/main" id="{3756E0C5-E65C-4A4D-8E65-4D2F9D70AC26}"/>
                  </a:ext>
                </a:extLst>
              </p:cNvPr>
              <p:cNvSpPr/>
              <p:nvPr/>
            </p:nvSpPr>
            <p:spPr>
              <a:xfrm>
                <a:off x="3169911" y="3459649"/>
                <a:ext cx="134809" cy="121628"/>
              </a:xfrm>
              <a:custGeom>
                <a:avLst/>
                <a:gdLst>
                  <a:gd name="connsiteX0" fmla="*/ 133761 w 134809"/>
                  <a:gd name="connsiteY0" fmla="*/ 25776 h 121628"/>
                  <a:gd name="connsiteX1" fmla="*/ 29411 w 134809"/>
                  <a:gd name="connsiteY1" fmla="*/ 121629 h 121628"/>
                  <a:gd name="connsiteX2" fmla="*/ 0 w 134809"/>
                  <a:gd name="connsiteY2" fmla="*/ 66050 h 121628"/>
                  <a:gd name="connsiteX3" fmla="*/ 53988 w 134809"/>
                  <a:gd name="connsiteY3" fmla="*/ 0 h 121628"/>
                  <a:gd name="connsiteX4" fmla="*/ 122480 w 134809"/>
                  <a:gd name="connsiteY4" fmla="*/ 10874 h 121628"/>
                  <a:gd name="connsiteX5" fmla="*/ 133761 w 134809"/>
                  <a:gd name="connsiteY5" fmla="*/ 25776 h 12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4809" h="121628">
                    <a:moveTo>
                      <a:pt x="133761" y="25776"/>
                    </a:moveTo>
                    <a:cubicBezTo>
                      <a:pt x="147057" y="70077"/>
                      <a:pt x="29411" y="121629"/>
                      <a:pt x="29411" y="121629"/>
                    </a:cubicBezTo>
                    <a:lnTo>
                      <a:pt x="0" y="66050"/>
                    </a:lnTo>
                    <a:lnTo>
                      <a:pt x="53988" y="0"/>
                    </a:lnTo>
                    <a:lnTo>
                      <a:pt x="122480" y="10874"/>
                    </a:lnTo>
                    <a:cubicBezTo>
                      <a:pt x="122077" y="10874"/>
                      <a:pt x="131344" y="18123"/>
                      <a:pt x="133761" y="25776"/>
                    </a:cubicBezTo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5" name="Forme libre 434">
                <a:extLst>
                  <a:ext uri="{FF2B5EF4-FFF2-40B4-BE49-F238E27FC236}">
                    <a16:creationId xmlns:a16="http://schemas.microsoft.com/office/drawing/2014/main" id="{457DCB80-3908-9040-8A78-37B05DDD5019}"/>
                  </a:ext>
                </a:extLst>
              </p:cNvPr>
              <p:cNvSpPr/>
              <p:nvPr/>
            </p:nvSpPr>
            <p:spPr>
              <a:xfrm>
                <a:off x="3304206" y="3485356"/>
                <a:ext cx="32503" cy="47995"/>
              </a:xfrm>
              <a:custGeom>
                <a:avLst/>
                <a:gdLst>
                  <a:gd name="connsiteX0" fmla="*/ 272 w 32503"/>
                  <a:gd name="connsiteY0" fmla="*/ 9332 h 47995"/>
                  <a:gd name="connsiteX1" fmla="*/ 30086 w 32503"/>
                  <a:gd name="connsiteY1" fmla="*/ 47995 h 47995"/>
                  <a:gd name="connsiteX2" fmla="*/ 32504 w 32503"/>
                  <a:gd name="connsiteY2" fmla="*/ 27052 h 47995"/>
                  <a:gd name="connsiteX3" fmla="*/ 26057 w 32503"/>
                  <a:gd name="connsiteY3" fmla="*/ 12554 h 47995"/>
                  <a:gd name="connsiteX4" fmla="*/ 11956 w 32503"/>
                  <a:gd name="connsiteY4" fmla="*/ 4901 h 47995"/>
                  <a:gd name="connsiteX5" fmla="*/ 272 w 32503"/>
                  <a:gd name="connsiteY5" fmla="*/ 9332 h 47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503" h="47995">
                    <a:moveTo>
                      <a:pt x="272" y="9332"/>
                    </a:moveTo>
                    <a:cubicBezTo>
                      <a:pt x="2689" y="26650"/>
                      <a:pt x="30086" y="47995"/>
                      <a:pt x="30086" y="47995"/>
                    </a:cubicBezTo>
                    <a:lnTo>
                      <a:pt x="32504" y="27052"/>
                    </a:lnTo>
                    <a:lnTo>
                      <a:pt x="26057" y="12554"/>
                    </a:lnTo>
                    <a:lnTo>
                      <a:pt x="11956" y="4901"/>
                    </a:lnTo>
                    <a:cubicBezTo>
                      <a:pt x="12359" y="4499"/>
                      <a:pt x="-2145" y="-8389"/>
                      <a:pt x="272" y="9332"/>
                    </a:cubicBezTo>
                  </a:path>
                </a:pathLst>
              </a:custGeom>
              <a:solidFill>
                <a:srgbClr val="212B53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6" name="Forme libre 435">
                <a:extLst>
                  <a:ext uri="{FF2B5EF4-FFF2-40B4-BE49-F238E27FC236}">
                    <a16:creationId xmlns:a16="http://schemas.microsoft.com/office/drawing/2014/main" id="{D1DB9407-B16C-0E4C-8C6A-F7AB4753E5BB}"/>
                  </a:ext>
                </a:extLst>
              </p:cNvPr>
              <p:cNvSpPr/>
              <p:nvPr/>
            </p:nvSpPr>
            <p:spPr>
              <a:xfrm>
                <a:off x="2974187" y="4458452"/>
                <a:ext cx="348825" cy="1339926"/>
              </a:xfrm>
              <a:custGeom>
                <a:avLst/>
                <a:gdLst>
                  <a:gd name="connsiteX0" fmla="*/ 144557 w 348825"/>
                  <a:gd name="connsiteY0" fmla="*/ 0 h 1339926"/>
                  <a:gd name="connsiteX1" fmla="*/ 35775 w 348825"/>
                  <a:gd name="connsiteY1" fmla="*/ 676206 h 1339926"/>
                  <a:gd name="connsiteX2" fmla="*/ 28523 w 348825"/>
                  <a:gd name="connsiteY2" fmla="*/ 779308 h 1339926"/>
                  <a:gd name="connsiteX3" fmla="*/ 7572 w 348825"/>
                  <a:gd name="connsiteY3" fmla="*/ 1339927 h 1339926"/>
                  <a:gd name="connsiteX4" fmla="*/ 82511 w 348825"/>
                  <a:gd name="connsiteY4" fmla="*/ 1339927 h 1339926"/>
                  <a:gd name="connsiteX5" fmla="*/ 348825 w 348825"/>
                  <a:gd name="connsiteY5" fmla="*/ 0 h 1339926"/>
                  <a:gd name="connsiteX6" fmla="*/ 144557 w 348825"/>
                  <a:gd name="connsiteY6" fmla="*/ 0 h 1339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8825" h="1339926">
                    <a:moveTo>
                      <a:pt x="144557" y="0"/>
                    </a:moveTo>
                    <a:cubicBezTo>
                      <a:pt x="144557" y="0"/>
                      <a:pt x="-77438" y="93034"/>
                      <a:pt x="35775" y="676206"/>
                    </a:cubicBezTo>
                    <a:cubicBezTo>
                      <a:pt x="42221" y="710439"/>
                      <a:pt x="38192" y="745881"/>
                      <a:pt x="28523" y="779308"/>
                    </a:cubicBezTo>
                    <a:cubicBezTo>
                      <a:pt x="-19422" y="942017"/>
                      <a:pt x="7572" y="1339927"/>
                      <a:pt x="7572" y="1339927"/>
                    </a:cubicBezTo>
                    <a:lnTo>
                      <a:pt x="82511" y="1339927"/>
                    </a:lnTo>
                    <a:cubicBezTo>
                      <a:pt x="82511" y="1339927"/>
                      <a:pt x="332709" y="302057"/>
                      <a:pt x="348825" y="0"/>
                    </a:cubicBezTo>
                    <a:lnTo>
                      <a:pt x="144557" y="0"/>
                    </a:lnTo>
                    <a:close/>
                  </a:path>
                </a:pathLst>
              </a:custGeom>
              <a:solidFill>
                <a:srgbClr val="043C5E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7" name="Forme libre 436">
                <a:extLst>
                  <a:ext uri="{FF2B5EF4-FFF2-40B4-BE49-F238E27FC236}">
                    <a16:creationId xmlns:a16="http://schemas.microsoft.com/office/drawing/2014/main" id="{0B03DA72-156B-4544-9F0C-5956C9B248D7}"/>
                  </a:ext>
                </a:extLst>
              </p:cNvPr>
              <p:cNvSpPr/>
              <p:nvPr/>
            </p:nvSpPr>
            <p:spPr>
              <a:xfrm>
                <a:off x="3756125" y="4193829"/>
                <a:ext cx="168960" cy="68767"/>
              </a:xfrm>
              <a:custGeom>
                <a:avLst/>
                <a:gdLst>
                  <a:gd name="connsiteX0" fmla="*/ 50362 w 168960"/>
                  <a:gd name="connsiteY0" fmla="*/ 11700 h 68767"/>
                  <a:gd name="connsiteX1" fmla="*/ 96292 w 168960"/>
                  <a:gd name="connsiteY1" fmla="*/ 14117 h 68767"/>
                  <a:gd name="connsiteX2" fmla="*/ 168813 w 168960"/>
                  <a:gd name="connsiteY2" fmla="*/ 13714 h 68767"/>
                  <a:gd name="connsiteX3" fmla="*/ 126912 w 168960"/>
                  <a:gd name="connsiteY3" fmla="*/ 59627 h 68767"/>
                  <a:gd name="connsiteX4" fmla="*/ 66478 w 168960"/>
                  <a:gd name="connsiteY4" fmla="*/ 66473 h 68767"/>
                  <a:gd name="connsiteX5" fmla="*/ 12087 w 168960"/>
                  <a:gd name="connsiteY5" fmla="*/ 47947 h 68767"/>
                  <a:gd name="connsiteX6" fmla="*/ 0 w 168960"/>
                  <a:gd name="connsiteY6" fmla="*/ 19755 h 68767"/>
                  <a:gd name="connsiteX7" fmla="*/ 9267 w 168960"/>
                  <a:gd name="connsiteY7" fmla="*/ 12506 h 68767"/>
                  <a:gd name="connsiteX8" fmla="*/ 50362 w 168960"/>
                  <a:gd name="connsiteY8" fmla="*/ 11700 h 68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8960" h="68767">
                    <a:moveTo>
                      <a:pt x="50362" y="11700"/>
                    </a:moveTo>
                    <a:cubicBezTo>
                      <a:pt x="53988" y="13311"/>
                      <a:pt x="67686" y="18547"/>
                      <a:pt x="96292" y="14117"/>
                    </a:cubicBezTo>
                    <a:cubicBezTo>
                      <a:pt x="121675" y="10089"/>
                      <a:pt x="172036" y="-15284"/>
                      <a:pt x="168813" y="13714"/>
                    </a:cubicBezTo>
                    <a:cubicBezTo>
                      <a:pt x="148266" y="33448"/>
                      <a:pt x="126912" y="59627"/>
                      <a:pt x="126912" y="59627"/>
                    </a:cubicBezTo>
                    <a:cubicBezTo>
                      <a:pt x="113214" y="70501"/>
                      <a:pt x="84608" y="70098"/>
                      <a:pt x="66478" y="66473"/>
                    </a:cubicBezTo>
                    <a:lnTo>
                      <a:pt x="12087" y="47947"/>
                    </a:lnTo>
                    <a:lnTo>
                      <a:pt x="0" y="19755"/>
                    </a:lnTo>
                    <a:lnTo>
                      <a:pt x="9267" y="12506"/>
                    </a:lnTo>
                    <a:cubicBezTo>
                      <a:pt x="23368" y="14519"/>
                      <a:pt x="37066" y="14117"/>
                      <a:pt x="50362" y="11700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8" name="Forme libre 437">
                <a:extLst>
                  <a:ext uri="{FF2B5EF4-FFF2-40B4-BE49-F238E27FC236}">
                    <a16:creationId xmlns:a16="http://schemas.microsoft.com/office/drawing/2014/main" id="{561051C1-802B-A14D-8251-C49556165E10}"/>
                  </a:ext>
                </a:extLst>
              </p:cNvPr>
              <p:cNvSpPr/>
              <p:nvPr/>
            </p:nvSpPr>
            <p:spPr>
              <a:xfrm>
                <a:off x="3771435" y="4172102"/>
                <a:ext cx="82593" cy="64036"/>
              </a:xfrm>
              <a:custGeom>
                <a:avLst/>
                <a:gdLst>
                  <a:gd name="connsiteX0" fmla="*/ 46736 w 82593"/>
                  <a:gd name="connsiteY0" fmla="*/ 42691 h 64036"/>
                  <a:gd name="connsiteX1" fmla="*/ 50362 w 82593"/>
                  <a:gd name="connsiteY1" fmla="*/ 45107 h 64036"/>
                  <a:gd name="connsiteX2" fmla="*/ 41901 w 82593"/>
                  <a:gd name="connsiteY2" fmla="*/ 52357 h 64036"/>
                  <a:gd name="connsiteX3" fmla="*/ 3223 w 82593"/>
                  <a:gd name="connsiteY3" fmla="*/ 64036 h 64036"/>
                  <a:gd name="connsiteX4" fmla="*/ 0 w 82593"/>
                  <a:gd name="connsiteY4" fmla="*/ 43496 h 64036"/>
                  <a:gd name="connsiteX5" fmla="*/ 79370 w 82593"/>
                  <a:gd name="connsiteY5" fmla="*/ 0 h 64036"/>
                  <a:gd name="connsiteX6" fmla="*/ 75744 w 82593"/>
                  <a:gd name="connsiteY6" fmla="*/ 22151 h 64036"/>
                  <a:gd name="connsiteX7" fmla="*/ 46736 w 82593"/>
                  <a:gd name="connsiteY7" fmla="*/ 42691 h 64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593" h="64036">
                    <a:moveTo>
                      <a:pt x="46736" y="42691"/>
                    </a:moveTo>
                    <a:cubicBezTo>
                      <a:pt x="46736" y="42691"/>
                      <a:pt x="47945" y="43899"/>
                      <a:pt x="50362" y="45107"/>
                    </a:cubicBezTo>
                    <a:cubicBezTo>
                      <a:pt x="47542" y="47524"/>
                      <a:pt x="44721" y="49940"/>
                      <a:pt x="41901" y="52357"/>
                    </a:cubicBezTo>
                    <a:cubicBezTo>
                      <a:pt x="29009" y="55981"/>
                      <a:pt x="16116" y="60411"/>
                      <a:pt x="3223" y="64036"/>
                    </a:cubicBezTo>
                    <a:cubicBezTo>
                      <a:pt x="2014" y="55579"/>
                      <a:pt x="0" y="44302"/>
                      <a:pt x="0" y="43496"/>
                    </a:cubicBezTo>
                    <a:lnTo>
                      <a:pt x="79370" y="0"/>
                    </a:lnTo>
                    <a:cubicBezTo>
                      <a:pt x="79370" y="0"/>
                      <a:pt x="88637" y="7652"/>
                      <a:pt x="75744" y="22151"/>
                    </a:cubicBezTo>
                    <a:cubicBezTo>
                      <a:pt x="62852" y="36650"/>
                      <a:pt x="46736" y="42691"/>
                      <a:pt x="46736" y="42691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39" name="Forme libre 438">
                <a:extLst>
                  <a:ext uri="{FF2B5EF4-FFF2-40B4-BE49-F238E27FC236}">
                    <a16:creationId xmlns:a16="http://schemas.microsoft.com/office/drawing/2014/main" id="{3AAF0FB3-F3F1-554B-9B15-589D1BFEA222}"/>
                  </a:ext>
                </a:extLst>
              </p:cNvPr>
              <p:cNvSpPr/>
              <p:nvPr/>
            </p:nvSpPr>
            <p:spPr>
              <a:xfrm>
                <a:off x="3078473" y="3829048"/>
                <a:ext cx="717941" cy="413936"/>
              </a:xfrm>
              <a:custGeom>
                <a:avLst/>
                <a:gdLst>
                  <a:gd name="connsiteX0" fmla="*/ 17306 w 717941"/>
                  <a:gd name="connsiteY0" fmla="*/ 19651 h 413936"/>
                  <a:gd name="connsiteX1" fmla="*/ 309405 w 717941"/>
                  <a:gd name="connsiteY1" fmla="*/ 204108 h 413936"/>
                  <a:gd name="connsiteX2" fmla="*/ 346069 w 717941"/>
                  <a:gd name="connsiteY2" fmla="*/ 231092 h 413936"/>
                  <a:gd name="connsiteX3" fmla="*/ 717941 w 717941"/>
                  <a:gd name="connsiteY3" fmla="*/ 375676 h 413936"/>
                  <a:gd name="connsiteX4" fmla="*/ 694574 w 717941"/>
                  <a:gd name="connsiteY4" fmla="*/ 413937 h 413936"/>
                  <a:gd name="connsiteX5" fmla="*/ 284426 w 717941"/>
                  <a:gd name="connsiteY5" fmla="*/ 326139 h 413936"/>
                  <a:gd name="connsiteX6" fmla="*/ 239302 w 717941"/>
                  <a:gd name="connsiteY6" fmla="*/ 306002 h 413936"/>
                  <a:gd name="connsiteX7" fmla="*/ 17306 w 717941"/>
                  <a:gd name="connsiteY7" fmla="*/ 19651 h 413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7941" h="413936">
                    <a:moveTo>
                      <a:pt x="17306" y="19651"/>
                    </a:moveTo>
                    <a:cubicBezTo>
                      <a:pt x="98691" y="-64119"/>
                      <a:pt x="253806" y="143293"/>
                      <a:pt x="309405" y="204108"/>
                    </a:cubicBezTo>
                    <a:cubicBezTo>
                      <a:pt x="319881" y="215384"/>
                      <a:pt x="332370" y="224647"/>
                      <a:pt x="346069" y="231092"/>
                    </a:cubicBezTo>
                    <a:lnTo>
                      <a:pt x="717941" y="375676"/>
                    </a:lnTo>
                    <a:lnTo>
                      <a:pt x="694574" y="413937"/>
                    </a:lnTo>
                    <a:lnTo>
                      <a:pt x="284426" y="326139"/>
                    </a:lnTo>
                    <a:cubicBezTo>
                      <a:pt x="268310" y="321709"/>
                      <a:pt x="253000" y="314862"/>
                      <a:pt x="239302" y="306002"/>
                    </a:cubicBezTo>
                    <a:cubicBezTo>
                      <a:pt x="161542" y="256464"/>
                      <a:pt x="-63676" y="103422"/>
                      <a:pt x="17306" y="19651"/>
                    </a:cubicBezTo>
                  </a:path>
                </a:pathLst>
              </a:custGeom>
              <a:solidFill>
                <a:srgbClr val="F8B68F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440" name="Forme libre 439">
                <a:extLst>
                  <a:ext uri="{FF2B5EF4-FFF2-40B4-BE49-F238E27FC236}">
                    <a16:creationId xmlns:a16="http://schemas.microsoft.com/office/drawing/2014/main" id="{9043FECF-0076-D849-B7C3-0C4FD3CA769C}"/>
                  </a:ext>
                </a:extLst>
              </p:cNvPr>
              <p:cNvSpPr/>
              <p:nvPr/>
            </p:nvSpPr>
            <p:spPr>
              <a:xfrm>
                <a:off x="3157825" y="4010602"/>
                <a:ext cx="399269" cy="185261"/>
              </a:xfrm>
              <a:custGeom>
                <a:avLst/>
                <a:gdLst>
                  <a:gd name="connsiteX0" fmla="*/ 215952 w 399269"/>
                  <a:gd name="connsiteY0" fmla="*/ 139349 h 185261"/>
                  <a:gd name="connsiteX1" fmla="*/ 399269 w 399269"/>
                  <a:gd name="connsiteY1" fmla="*/ 178013 h 185261"/>
                  <a:gd name="connsiteX2" fmla="*/ 395644 w 399269"/>
                  <a:gd name="connsiteY2" fmla="*/ 185262 h 185261"/>
                  <a:gd name="connsiteX3" fmla="*/ 214341 w 399269"/>
                  <a:gd name="connsiteY3" fmla="*/ 147001 h 185261"/>
                  <a:gd name="connsiteX4" fmla="*/ 167202 w 399269"/>
                  <a:gd name="connsiteY4" fmla="*/ 128475 h 185261"/>
                  <a:gd name="connsiteX5" fmla="*/ 0 w 399269"/>
                  <a:gd name="connsiteY5" fmla="*/ 5639 h 185261"/>
                  <a:gd name="connsiteX6" fmla="*/ 6043 w 399269"/>
                  <a:gd name="connsiteY6" fmla="*/ 0 h 185261"/>
                  <a:gd name="connsiteX7" fmla="*/ 171231 w 399269"/>
                  <a:gd name="connsiteY7" fmla="*/ 121629 h 185261"/>
                  <a:gd name="connsiteX8" fmla="*/ 215952 w 399269"/>
                  <a:gd name="connsiteY8" fmla="*/ 139349 h 185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9269" h="185261">
                    <a:moveTo>
                      <a:pt x="215952" y="139349"/>
                    </a:moveTo>
                    <a:lnTo>
                      <a:pt x="399269" y="178013"/>
                    </a:lnTo>
                    <a:lnTo>
                      <a:pt x="395644" y="185262"/>
                    </a:lnTo>
                    <a:lnTo>
                      <a:pt x="214341" y="147001"/>
                    </a:lnTo>
                    <a:cubicBezTo>
                      <a:pt x="197822" y="143377"/>
                      <a:pt x="181706" y="136933"/>
                      <a:pt x="167202" y="128475"/>
                    </a:cubicBezTo>
                    <a:cubicBezTo>
                      <a:pt x="125703" y="104311"/>
                      <a:pt x="59629" y="54773"/>
                      <a:pt x="0" y="5639"/>
                    </a:cubicBezTo>
                    <a:lnTo>
                      <a:pt x="6043" y="0"/>
                    </a:lnTo>
                    <a:cubicBezTo>
                      <a:pt x="68895" y="51551"/>
                      <a:pt x="138193" y="102297"/>
                      <a:pt x="171231" y="121629"/>
                    </a:cubicBezTo>
                    <a:cubicBezTo>
                      <a:pt x="184929" y="130086"/>
                      <a:pt x="199836" y="136127"/>
                      <a:pt x="215952" y="139349"/>
                    </a:cubicBezTo>
                  </a:path>
                </a:pathLst>
              </a:custGeom>
              <a:solidFill>
                <a:srgbClr val="F4A086"/>
              </a:solidFill>
              <a:ln w="402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  <p:sp>
          <p:nvSpPr>
            <p:cNvPr id="489" name="Forme libre 488">
              <a:extLst>
                <a:ext uri="{FF2B5EF4-FFF2-40B4-BE49-F238E27FC236}">
                  <a16:creationId xmlns:a16="http://schemas.microsoft.com/office/drawing/2014/main" id="{8000BBE3-5A58-4248-8D79-A75499EEACA8}"/>
                </a:ext>
              </a:extLst>
            </p:cNvPr>
            <p:cNvSpPr/>
            <p:nvPr userDrawn="1"/>
          </p:nvSpPr>
          <p:spPr>
            <a:xfrm>
              <a:off x="4668280" y="3567584"/>
              <a:ext cx="115631" cy="37455"/>
            </a:xfrm>
            <a:custGeom>
              <a:avLst/>
              <a:gdLst>
                <a:gd name="connsiteX0" fmla="*/ 109588 w 115631"/>
                <a:gd name="connsiteY0" fmla="*/ 0 h 37455"/>
                <a:gd name="connsiteX1" fmla="*/ 115631 w 115631"/>
                <a:gd name="connsiteY1" fmla="*/ 37455 h 37455"/>
                <a:gd name="connsiteX2" fmla="*/ 0 w 115631"/>
                <a:gd name="connsiteY2" fmla="*/ 37052 h 37455"/>
                <a:gd name="connsiteX3" fmla="*/ 7655 w 115631"/>
                <a:gd name="connsiteY3" fmla="*/ 0 h 3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631" h="37455">
                  <a:moveTo>
                    <a:pt x="109588" y="0"/>
                  </a:moveTo>
                  <a:lnTo>
                    <a:pt x="115631" y="37455"/>
                  </a:lnTo>
                  <a:lnTo>
                    <a:pt x="0" y="37052"/>
                  </a:lnTo>
                  <a:lnTo>
                    <a:pt x="7655" y="0"/>
                  </a:lnTo>
                  <a:close/>
                </a:path>
              </a:pathLst>
            </a:custGeom>
            <a:solidFill>
              <a:srgbClr val="FAB746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90" name="Forme libre 489">
              <a:extLst>
                <a:ext uri="{FF2B5EF4-FFF2-40B4-BE49-F238E27FC236}">
                  <a16:creationId xmlns:a16="http://schemas.microsoft.com/office/drawing/2014/main" id="{B997FA5F-1178-6B40-A589-4596819CFDDD}"/>
                </a:ext>
              </a:extLst>
            </p:cNvPr>
            <p:cNvSpPr/>
            <p:nvPr userDrawn="1"/>
          </p:nvSpPr>
          <p:spPr>
            <a:xfrm>
              <a:off x="4868116" y="3915151"/>
              <a:ext cx="18936" cy="459530"/>
            </a:xfrm>
            <a:custGeom>
              <a:avLst/>
              <a:gdLst>
                <a:gd name="connsiteX0" fmla="*/ 8864 w 18936"/>
                <a:gd name="connsiteY0" fmla="*/ 459530 h 459530"/>
                <a:gd name="connsiteX1" fmla="*/ 0 w 18936"/>
                <a:gd name="connsiteY1" fmla="*/ 403 h 459530"/>
                <a:gd name="connsiteX2" fmla="*/ 10072 w 18936"/>
                <a:gd name="connsiteY2" fmla="*/ 0 h 459530"/>
                <a:gd name="connsiteX3" fmla="*/ 18936 w 18936"/>
                <a:gd name="connsiteY3" fmla="*/ 459530 h 45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936" h="459530">
                  <a:moveTo>
                    <a:pt x="8864" y="459530"/>
                  </a:moveTo>
                  <a:lnTo>
                    <a:pt x="0" y="403"/>
                  </a:lnTo>
                  <a:lnTo>
                    <a:pt x="10072" y="0"/>
                  </a:lnTo>
                  <a:lnTo>
                    <a:pt x="18936" y="459530"/>
                  </a:lnTo>
                  <a:close/>
                </a:path>
              </a:pathLst>
            </a:custGeom>
            <a:solidFill>
              <a:srgbClr val="36696B"/>
            </a:solidFill>
            <a:ln w="402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pic>
        <p:nvPicPr>
          <p:cNvPr id="3" name="Image 2">
            <a:extLst>
              <a:ext uri="{FF2B5EF4-FFF2-40B4-BE49-F238E27FC236}">
                <a16:creationId xmlns:a16="http://schemas.microsoft.com/office/drawing/2014/main" id="{AD5E70CC-EB33-7045-9351-99F04208EEB7}"/>
              </a:ext>
            </a:extLst>
          </p:cNvPr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12424" y="623681"/>
            <a:ext cx="6037896" cy="5950613"/>
          </a:xfrm>
          <a:prstGeom prst="rect">
            <a:avLst/>
          </a:prstGeom>
        </p:spPr>
      </p:pic>
      <p:pic>
        <p:nvPicPr>
          <p:cNvPr id="5" name="Graphique 4">
            <a:extLst>
              <a:ext uri="{FF2B5EF4-FFF2-40B4-BE49-F238E27FC236}">
                <a16:creationId xmlns:a16="http://schemas.microsoft.com/office/drawing/2014/main" id="{FF31039E-ACE6-C14D-824E-E08F73C496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 r:link="rId5"/>
              </a:ext>
            </a:extLst>
          </a:blip>
          <a:stretch>
            <a:fillRect/>
          </a:stretch>
        </p:blipFill>
        <p:spPr>
          <a:xfrm flipH="1">
            <a:off x="3830637" y="971551"/>
            <a:ext cx="238760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72938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photo, sombre, lumière, grand&#10;&#10;Description générée automatiquement">
            <a:extLst>
              <a:ext uri="{FF2B5EF4-FFF2-40B4-BE49-F238E27FC236}">
                <a16:creationId xmlns:a16="http://schemas.microsoft.com/office/drawing/2014/main" id="{00DF9681-7768-254C-B962-8FB51777D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747541" cy="6858000"/>
          </a:xfrm>
          <a:prstGeom prst="rect">
            <a:avLst/>
          </a:prstGeom>
        </p:spPr>
      </p:pic>
      <p:grpSp>
        <p:nvGrpSpPr>
          <p:cNvPr id="18" name="Logo">
            <a:extLst>
              <a:ext uri="{FF2B5EF4-FFF2-40B4-BE49-F238E27FC236}">
                <a16:creationId xmlns:a16="http://schemas.microsoft.com/office/drawing/2014/main" id="{0FFDE514-3234-6949-A402-C5D8FFCD80B9}"/>
              </a:ext>
            </a:extLst>
          </p:cNvPr>
          <p:cNvGrpSpPr/>
          <p:nvPr userDrawn="1"/>
        </p:nvGrpSpPr>
        <p:grpSpPr>
          <a:xfrm>
            <a:off x="11063288" y="6099628"/>
            <a:ext cx="1128712" cy="889000"/>
            <a:chOff x="11063288" y="6099628"/>
            <a:chExt cx="1128712" cy="889000"/>
          </a:xfrm>
        </p:grpSpPr>
        <p:sp>
          <p:nvSpPr>
            <p:cNvPr id="19" name="AutoShape 13" descr="Forme libre 29">
              <a:extLst>
                <a:ext uri="{FF2B5EF4-FFF2-40B4-BE49-F238E27FC236}">
                  <a16:creationId xmlns:a16="http://schemas.microsoft.com/office/drawing/2014/main" id="{24706C56-A1C0-DF43-987A-CDCC0E6D3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6099628"/>
              <a:ext cx="1128712" cy="889000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3829" y="0"/>
                  </a:moveTo>
                  <a:cubicBezTo>
                    <a:pt x="16693" y="0"/>
                    <a:pt x="19353" y="1106"/>
                    <a:pt x="21560" y="3001"/>
                  </a:cubicBezTo>
                  <a:lnTo>
                    <a:pt x="21600" y="3039"/>
                  </a:lnTo>
                  <a:lnTo>
                    <a:pt x="21600" y="21600"/>
                  </a:lnTo>
                  <a:lnTo>
                    <a:pt x="379" y="21600"/>
                  </a:lnTo>
                  <a:lnTo>
                    <a:pt x="281" y="21115"/>
                  </a:lnTo>
                  <a:cubicBezTo>
                    <a:pt x="97" y="19971"/>
                    <a:pt x="0" y="18787"/>
                    <a:pt x="0" y="17573"/>
                  </a:cubicBezTo>
                  <a:cubicBezTo>
                    <a:pt x="0" y="7868"/>
                    <a:pt x="6191" y="0"/>
                    <a:pt x="1382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204092" dist="29368" dir="13500000" algn="br" rotWithShape="0">
                <a:schemeClr val="accent5">
                  <a:lumMod val="50000"/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sp>
          <p:nvSpPr>
            <p:cNvPr id="20" name="AutoShape 14" descr="Forme libre 30">
              <a:extLst>
                <a:ext uri="{FF2B5EF4-FFF2-40B4-BE49-F238E27FC236}">
                  <a16:creationId xmlns:a16="http://schemas.microsoft.com/office/drawing/2014/main" id="{643A88A7-3AC0-7248-8A99-C5297CDB2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0736" y="6160750"/>
              <a:ext cx="1111263" cy="827878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4046" y="0"/>
                  </a:moveTo>
                  <a:cubicBezTo>
                    <a:pt x="16470" y="0"/>
                    <a:pt x="18751" y="825"/>
                    <a:pt x="20741" y="2278"/>
                  </a:cubicBezTo>
                  <a:lnTo>
                    <a:pt x="21600" y="2979"/>
                  </a:lnTo>
                  <a:lnTo>
                    <a:pt x="21600" y="21600"/>
                  </a:lnTo>
                  <a:lnTo>
                    <a:pt x="163" y="21600"/>
                  </a:lnTo>
                  <a:lnTo>
                    <a:pt x="73" y="20800"/>
                  </a:lnTo>
                  <a:cubicBezTo>
                    <a:pt x="25" y="20166"/>
                    <a:pt x="0" y="19522"/>
                    <a:pt x="0" y="18871"/>
                  </a:cubicBezTo>
                  <a:cubicBezTo>
                    <a:pt x="0" y="8449"/>
                    <a:pt x="6288" y="0"/>
                    <a:pt x="140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pic>
          <p:nvPicPr>
            <p:cNvPr id="21" name="Google Shape;65;p13">
              <a:extLst>
                <a:ext uri="{FF2B5EF4-FFF2-40B4-BE49-F238E27FC236}">
                  <a16:creationId xmlns:a16="http://schemas.microsoft.com/office/drawing/2014/main" id="{8BE399BB-C546-AC4B-AEDF-92D8A175A0F5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3" r:link="rId4"/>
                </a:ext>
              </a:extLst>
            </a:blip>
            <a:srcRect/>
            <a:stretch>
              <a:fillRect/>
            </a:stretch>
          </p:blipFill>
          <p:spPr>
            <a:xfrm>
              <a:off x="11350414" y="6316622"/>
              <a:ext cx="722442" cy="5106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Forme libre : forme 12">
            <a:extLst>
              <a:ext uri="{FF2B5EF4-FFF2-40B4-BE49-F238E27FC236}">
                <a16:creationId xmlns:a16="http://schemas.microsoft.com/office/drawing/2014/main" id="{A925156F-F1E5-7A4F-A619-56FCD2CE08CC}"/>
              </a:ext>
            </a:extLst>
          </p:cNvPr>
          <p:cNvSpPr/>
          <p:nvPr userDrawn="1"/>
        </p:nvSpPr>
        <p:spPr>
          <a:xfrm>
            <a:off x="-1" y="6479979"/>
            <a:ext cx="473076" cy="378021"/>
          </a:xfrm>
          <a:custGeom>
            <a:avLst/>
            <a:gdLst>
              <a:gd name="connsiteX0" fmla="*/ 0 w 643218"/>
              <a:gd name="connsiteY0" fmla="*/ 0 h 513976"/>
              <a:gd name="connsiteX1" fmla="*/ 386230 w 643218"/>
              <a:gd name="connsiteY1" fmla="*/ 0 h 513976"/>
              <a:gd name="connsiteX2" fmla="*/ 643218 w 643218"/>
              <a:gd name="connsiteY2" fmla="*/ 256988 h 513976"/>
              <a:gd name="connsiteX3" fmla="*/ 386230 w 643218"/>
              <a:gd name="connsiteY3" fmla="*/ 513976 h 513976"/>
              <a:gd name="connsiteX4" fmla="*/ 0 w 643218"/>
              <a:gd name="connsiteY4" fmla="*/ 513976 h 51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218" h="513976">
                <a:moveTo>
                  <a:pt x="0" y="0"/>
                </a:moveTo>
                <a:lnTo>
                  <a:pt x="386230" y="0"/>
                </a:lnTo>
                <a:cubicBezTo>
                  <a:pt x="528161" y="0"/>
                  <a:pt x="643218" y="115057"/>
                  <a:pt x="643218" y="256988"/>
                </a:cubicBezTo>
                <a:cubicBezTo>
                  <a:pt x="643218" y="398919"/>
                  <a:pt x="528161" y="513976"/>
                  <a:pt x="386230" y="513976"/>
                </a:cubicBezTo>
                <a:lnTo>
                  <a:pt x="0" y="51397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351947-423C-B24A-B115-10D2BD69BA01}"/>
              </a:ext>
            </a:extLst>
          </p:cNvPr>
          <p:cNvSpPr/>
          <p:nvPr userDrawn="1"/>
        </p:nvSpPr>
        <p:spPr>
          <a:xfrm>
            <a:off x="2254102" y="6885384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10847138" cy="1609434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40000" y="2160000"/>
            <a:ext cx="5181600" cy="4351338"/>
          </a:xfrm>
          <a:ln>
            <a:noFill/>
          </a:ln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2160000"/>
            <a:ext cx="5181600" cy="4351338"/>
          </a:xfrm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547687" y="7656810"/>
            <a:ext cx="838200" cy="187027"/>
          </a:xfrm>
        </p:spPr>
        <p:txBody>
          <a:bodyPr/>
          <a:lstStyle/>
          <a:p>
            <a:fld id="{8198F7CA-F303-8347-879F-B1840B5E05B2}" type="datetime1">
              <a:rPr lang="fr-FR" smtClean="0"/>
              <a:t>20/01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500187" y="7656810"/>
            <a:ext cx="8420100" cy="187027"/>
          </a:xfrm>
          <a:prstGeom prst="rect">
            <a:avLst/>
          </a:prstGeom>
        </p:spPr>
        <p:txBody>
          <a:bodyPr/>
          <a:lstStyle/>
          <a:p>
            <a:r>
              <a:rPr lang="fr-FR"/>
              <a:t>Bilan Grand-Est 2023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34504" y="6588000"/>
            <a:ext cx="838200" cy="187027"/>
          </a:xfrm>
        </p:spPr>
        <p:txBody>
          <a:bodyPr/>
          <a:lstStyle/>
          <a:p>
            <a:fld id="{C814DB2B-3EFD-4766-A6C9-C9A5E84D2897}" type="slidenum">
              <a:rPr lang="fr-FR" smtClean="0"/>
              <a:t>‹N°›</a:t>
            </a:fld>
            <a:endParaRPr lang="fr-FR"/>
          </a:p>
        </p:txBody>
      </p:sp>
      <p:sp>
        <p:nvSpPr>
          <p:cNvPr id="23" name="Espace réservé du texte 28">
            <a:extLst>
              <a:ext uri="{FF2B5EF4-FFF2-40B4-BE49-F238E27FC236}">
                <a16:creationId xmlns:a16="http://schemas.microsoft.com/office/drawing/2014/main" id="{A4BC9205-4C34-DA4B-BFFE-1AADB0EA0A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180000"/>
            <a:ext cx="1858643" cy="331304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80000" tIns="0" rIns="180000" anchor="ctr" anchorCtr="0">
            <a:normAutofit/>
          </a:bodyPr>
          <a:lstStyle>
            <a:lvl1pPr marL="0" indent="0" algn="l">
              <a:buFontTx/>
              <a:buNone/>
              <a:defRPr sz="1000" b="0" i="0" cap="all" spc="200" normalizeH="0" baseline="0">
                <a:solidFill>
                  <a:schemeClr val="bg1"/>
                </a:solidFill>
                <a:latin typeface="Pole Emploi PRO Light" panose="02000303040000020004" pitchFamily="2" charset="77"/>
              </a:defRPr>
            </a:lvl1pPr>
            <a:lvl2pPr marL="1778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7" indent="0">
              <a:buFontTx/>
              <a:buNone/>
              <a:defRPr>
                <a:solidFill>
                  <a:schemeClr val="bg1"/>
                </a:solidFill>
              </a:defRPr>
            </a:lvl3pPr>
            <a:lvl4pPr marL="536575" indent="0">
              <a:buFontTx/>
              <a:buNone/>
              <a:defRPr>
                <a:solidFill>
                  <a:schemeClr val="bg1"/>
                </a:solidFill>
              </a:defRPr>
            </a:lvl4pPr>
            <a:lvl5pPr marL="71437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1401664223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07C460-F6CF-B157-9B35-9183C2F50F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07C460-F6CF-B157-9B35-9183C2F50F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rme libre 10">
            <a:extLst>
              <a:ext uri="{FF2B5EF4-FFF2-40B4-BE49-F238E27FC236}">
                <a16:creationId xmlns:a16="http://schemas.microsoft.com/office/drawing/2014/main" id="{CB5343B9-4000-0D59-D0B9-3C600DB7EA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71055" y="388976"/>
            <a:ext cx="9020946" cy="6469024"/>
          </a:xfrm>
          <a:custGeom>
            <a:avLst/>
            <a:gdLst>
              <a:gd name="connsiteX0" fmla="*/ 4945505 w 9020946"/>
              <a:gd name="connsiteY0" fmla="*/ 0 h 6469024"/>
              <a:gd name="connsiteX1" fmla="*/ 5771187 w 9020946"/>
              <a:gd name="connsiteY1" fmla="*/ 161155 h 6469024"/>
              <a:gd name="connsiteX2" fmla="*/ 8936706 w 9020946"/>
              <a:gd name="connsiteY2" fmla="*/ 1984322 h 6469024"/>
              <a:gd name="connsiteX3" fmla="*/ 9020946 w 9020946"/>
              <a:gd name="connsiteY3" fmla="*/ 2056378 h 6469024"/>
              <a:gd name="connsiteX4" fmla="*/ 9020946 w 9020946"/>
              <a:gd name="connsiteY4" fmla="*/ 6469024 h 6469024"/>
              <a:gd name="connsiteX5" fmla="*/ 56808 w 9020946"/>
              <a:gd name="connsiteY5" fmla="*/ 6469024 h 6469024"/>
              <a:gd name="connsiteX6" fmla="*/ 31222 w 9020946"/>
              <a:gd name="connsiteY6" fmla="*/ 6170845 h 6469024"/>
              <a:gd name="connsiteX7" fmla="*/ 1 w 9020946"/>
              <a:gd name="connsiteY7" fmla="*/ 5252589 h 6469024"/>
              <a:gd name="connsiteX8" fmla="*/ 126073 w 9020946"/>
              <a:gd name="connsiteY8" fmla="*/ 3415976 h 6469024"/>
              <a:gd name="connsiteX9" fmla="*/ 954371 w 9020946"/>
              <a:gd name="connsiteY9" fmla="*/ 1984322 h 6469024"/>
              <a:gd name="connsiteX10" fmla="*/ 4119822 w 9020946"/>
              <a:gd name="connsiteY10" fmla="*/ 161155 h 6469024"/>
              <a:gd name="connsiteX11" fmla="*/ 4945505 w 9020946"/>
              <a:gd name="connsiteY11" fmla="*/ 0 h 64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020946" h="6469024">
                <a:moveTo>
                  <a:pt x="4945505" y="0"/>
                </a:moveTo>
                <a:cubicBezTo>
                  <a:pt x="5226075" y="0"/>
                  <a:pt x="5506646" y="53719"/>
                  <a:pt x="5771187" y="161155"/>
                </a:cubicBezTo>
                <a:cubicBezTo>
                  <a:pt x="6912831" y="624859"/>
                  <a:pt x="7976495" y="1241364"/>
                  <a:pt x="8936706" y="1984322"/>
                </a:cubicBezTo>
                <a:lnTo>
                  <a:pt x="9020946" y="2056378"/>
                </a:lnTo>
                <a:lnTo>
                  <a:pt x="9020946" y="6469024"/>
                </a:lnTo>
                <a:lnTo>
                  <a:pt x="56808" y="6469024"/>
                </a:lnTo>
                <a:lnTo>
                  <a:pt x="31222" y="6170845"/>
                </a:lnTo>
                <a:cubicBezTo>
                  <a:pt x="10258" y="5864562"/>
                  <a:pt x="-101" y="5558295"/>
                  <a:pt x="1" y="5252589"/>
                </a:cubicBezTo>
                <a:cubicBezTo>
                  <a:pt x="-203" y="4641109"/>
                  <a:pt x="41436" y="4027524"/>
                  <a:pt x="126073" y="3415976"/>
                </a:cubicBezTo>
                <a:cubicBezTo>
                  <a:pt x="204460" y="2849318"/>
                  <a:pt x="501911" y="2334409"/>
                  <a:pt x="954371" y="1984322"/>
                </a:cubicBezTo>
                <a:cubicBezTo>
                  <a:pt x="1914514" y="1241296"/>
                  <a:pt x="2978246" y="624859"/>
                  <a:pt x="4119822" y="161155"/>
                </a:cubicBezTo>
                <a:cubicBezTo>
                  <a:pt x="4384363" y="53719"/>
                  <a:pt x="4664934" y="0"/>
                  <a:pt x="4945505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E35556AE-0792-4A86-267C-E3B3100CDA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96406" y="3172618"/>
            <a:ext cx="728664" cy="728664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A84D5D1-C99C-5B24-C5D3-F357B9BD107F}"/>
              </a:ext>
            </a:extLst>
          </p:cNvPr>
          <p:cNvGrpSpPr/>
          <p:nvPr userDrawn="1"/>
        </p:nvGrpSpPr>
        <p:grpSpPr>
          <a:xfrm>
            <a:off x="574676" y="574676"/>
            <a:ext cx="2832100" cy="836100"/>
            <a:chOff x="574675" y="574675"/>
            <a:chExt cx="2957513" cy="873125"/>
          </a:xfrm>
        </p:grpSpPr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B90F13-BFED-F42E-3160-DAEFE8AA9E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4675" y="574675"/>
              <a:ext cx="993800" cy="873125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675DEB7F-BF68-12E8-DF53-84EEBC7FBA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771624" y="574675"/>
              <a:ext cx="1760564" cy="873125"/>
            </a:xfrm>
            <a:prstGeom prst="rect">
              <a:avLst/>
            </a:prstGeom>
          </p:spPr>
        </p:pic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0058CDAE-DA68-3DB6-CDA5-02E4FEC40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5302" y="3040381"/>
            <a:ext cx="7335836" cy="1907346"/>
          </a:xfrm>
        </p:spPr>
        <p:txBody>
          <a:bodyPr vert="horz" anchor="t"/>
          <a:lstStyle>
            <a:lvl1pPr>
              <a:defRPr lang="en-GB" sz="66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60A38F1-BA27-DF99-2E3E-4EE003EA0E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5301" y="5086350"/>
            <a:ext cx="5448300" cy="1196975"/>
          </a:xfrm>
        </p:spPr>
        <p:txBody>
          <a:bodyPr/>
          <a:lstStyle>
            <a:lvl1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b="1" kern="1200" cap="all" spc="-2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2000" b="1" kern="1200" cap="all" spc="-20" baseline="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his is a subtit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07972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3699CE3-CD10-6F82-95EA-E7F76B0F4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699CE3-CD10-6F82-95EA-E7F76B0F45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4A8E668-3EA9-2ABD-8441-36F2D4ACAF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0272" y="1501775"/>
            <a:ext cx="4494528" cy="747897"/>
          </a:xfrm>
        </p:spPr>
        <p:txBody>
          <a:bodyPr vert="horz"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fr-FR"/>
              <a:t>Sommaire</a:t>
            </a:r>
            <a:endParaRPr lang="fr-FR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73B73FCA-B8D0-1803-3321-47FB1580E59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0271" y="2709144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C24E9320-DC19-61E8-605A-32F867F256A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47800" y="2763923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EFA21F19-0699-916D-76B5-D8D5CFE75E0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366419" y="2763923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61D3AB77-4E69-3B26-1904-E9C3C29A8EF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0271" y="3259213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2</a:t>
            </a:r>
            <a:endParaRPr lang="fr-FR" dirty="0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075C46A-5FF1-6971-B941-4DCAF33C3F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47800" y="3313992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2DC69141-017F-54CB-6745-EF0FA652076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66419" y="3313992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8B7314D0-B424-CD63-4B8A-B0A353CE2B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90271" y="3809282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3</a:t>
            </a:r>
            <a:endParaRPr lang="fr-FR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4427665-7EA5-1931-C168-6F9EADD64C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47800" y="3864061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A000BC19-DB50-E677-7355-D7CD4C78356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6419" y="3864061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7E3DB5D-9972-95BF-8E26-B41F2DD80B1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90271" y="4359351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4</a:t>
            </a:r>
            <a:endParaRPr lang="fr-FR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D20FE6B7-05BF-A511-A0CC-06B5A4776BF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47800" y="4414130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BEB2FB84-7627-2484-7150-6E9A9BA9143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66419" y="4414130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96DDA1FC-B4C7-ACA8-6757-196599F8FEF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90271" y="4909419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wrap="square" lIns="0" tIns="0" rIns="0" bIns="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tx2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2"/>
                </a:solidFill>
                <a:latin typeface="+mj-lt"/>
              </a:defRPr>
            </a:lvl9pPr>
          </a:lstStyle>
          <a:p>
            <a:pPr lvl="0"/>
            <a:r>
              <a:rPr lang="fr-FR"/>
              <a:t>05</a:t>
            </a:r>
            <a:endParaRPr lang="fr-FR" dirty="0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F9843044-F090-699F-98AE-9CDDABBFF6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47800" y="4964198"/>
            <a:ext cx="3561010" cy="276999"/>
          </a:xfrm>
        </p:spPr>
        <p:txBody>
          <a:bodyPr vert="horz" anchor="t"/>
          <a:lstStyle>
            <a:lvl1pPr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0"/>
              </a:spcAft>
              <a:defRPr sz="18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Lorem Ipsum dolor</a:t>
            </a:r>
            <a:endParaRPr lang="fr-FR" dirty="0"/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AD052443-8F73-B181-4555-CADF915EF91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66419" y="4964198"/>
            <a:ext cx="620043" cy="276999"/>
          </a:xfrm>
        </p:spPr>
        <p:txBody>
          <a:bodyPr vert="horz" anchor="ctr"/>
          <a:lstStyle>
            <a:lvl1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5pPr>
            <a:lvl6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6pPr>
            <a:lvl7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7pPr>
            <a:lvl8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8pPr>
            <a:lvl9pPr algn="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p.00</a:t>
            </a:r>
            <a:endParaRPr lang="fr-FR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BB62A75-BE87-4F6F-2FC2-1811BCF0B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C3DD55C-F985-B54F-6A0C-19E5EBC79752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C83CD80-F80A-E1D2-E92B-F7F872D41149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0420565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message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E311B81-2EFE-2000-6EA1-82D1196E1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E311B81-2EFE-2000-6EA1-82D1196E1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4">
            <a:extLst>
              <a:ext uri="{FF2B5EF4-FFF2-40B4-BE49-F238E27FC236}">
                <a16:creationId xmlns:a16="http://schemas.microsoft.com/office/drawing/2014/main" id="{D3A77740-3A3D-F791-854D-0F48141637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83911" y="531196"/>
            <a:ext cx="738804" cy="738804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9C643844-DA3F-41F5-7AB6-D88131492F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2294" y="589580"/>
            <a:ext cx="622038" cy="622036"/>
          </a:xfrm>
          <a:prstGeom prst="ellipse">
            <a:avLst/>
          </a:prstGeom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4017B8-F748-6085-9C91-50486A2CAE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911" y="1511011"/>
            <a:ext cx="5402552" cy="4365625"/>
          </a:xfrm>
        </p:spPr>
        <p:txBody>
          <a:bodyPr vert="horz" anchor="t"/>
          <a:lstStyle>
            <a:lvl1pPr>
              <a:defRPr sz="3600" b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fr-FR"/>
              <a:t>Lorem ipsum dolor sit amet, consectetuer adipiscing elit. Maecenas porttitor congue massa. Fusce posuere, magna sed pulvinar ultricies</a:t>
            </a:r>
            <a:endParaRPr lang="fr-FR" dirty="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E95B0267-835E-C716-5BD8-2F5CF3E18F72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990020" y="3"/>
            <a:ext cx="5201978" cy="5281610"/>
          </a:xfrm>
          <a:custGeom>
            <a:avLst/>
            <a:gdLst>
              <a:gd name="connsiteX0" fmla="*/ 1100062 w 5689601"/>
              <a:gd name="connsiteY0" fmla="*/ 0 h 5776697"/>
              <a:gd name="connsiteX1" fmla="*/ 5689601 w 5689601"/>
              <a:gd name="connsiteY1" fmla="*/ 0 h 5776697"/>
              <a:gd name="connsiteX2" fmla="*/ 5689601 w 5689601"/>
              <a:gd name="connsiteY2" fmla="*/ 5302880 h 5776697"/>
              <a:gd name="connsiteX3" fmla="*/ 5657913 w 5689601"/>
              <a:gd name="connsiteY3" fmla="*/ 5333342 h 5776697"/>
              <a:gd name="connsiteX4" fmla="*/ 4874183 w 5689601"/>
              <a:gd name="connsiteY4" fmla="*/ 5690117 h 5776697"/>
              <a:gd name="connsiteX5" fmla="*/ 3926902 w 5689601"/>
              <a:gd name="connsiteY5" fmla="*/ 5771331 h 5776697"/>
              <a:gd name="connsiteX6" fmla="*/ 3611417 w 5689601"/>
              <a:gd name="connsiteY6" fmla="*/ 5776697 h 5776697"/>
              <a:gd name="connsiteX7" fmla="*/ 3611356 w 5689601"/>
              <a:gd name="connsiteY7" fmla="*/ 5776697 h 5776697"/>
              <a:gd name="connsiteX8" fmla="*/ 3295871 w 5689601"/>
              <a:gd name="connsiteY8" fmla="*/ 5771419 h 5776697"/>
              <a:gd name="connsiteX9" fmla="*/ 2348589 w 5689601"/>
              <a:gd name="connsiteY9" fmla="*/ 5690117 h 5776697"/>
              <a:gd name="connsiteX10" fmla="*/ 1364359 w 5689601"/>
              <a:gd name="connsiteY10" fmla="*/ 5120748 h 5776697"/>
              <a:gd name="connsiteX11" fmla="*/ 110815 w 5689601"/>
              <a:gd name="connsiteY11" fmla="*/ 2944756 h 5776697"/>
              <a:gd name="connsiteX12" fmla="*/ 110815 w 5689601"/>
              <a:gd name="connsiteY12" fmla="*/ 1809627 h 5776697"/>
              <a:gd name="connsiteX13" fmla="*/ 997815 w 5689601"/>
              <a:gd name="connsiteY13" fmla="*/ 141732 h 5776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9601" h="5776697">
                <a:moveTo>
                  <a:pt x="1100062" y="0"/>
                </a:moveTo>
                <a:lnTo>
                  <a:pt x="5689601" y="0"/>
                </a:lnTo>
                <a:lnTo>
                  <a:pt x="5689601" y="5302880"/>
                </a:lnTo>
                <a:lnTo>
                  <a:pt x="5657913" y="5333342"/>
                </a:lnTo>
                <a:cubicBezTo>
                  <a:pt x="5438577" y="5524570"/>
                  <a:pt x="5166395" y="5649649"/>
                  <a:pt x="4874183" y="5690117"/>
                </a:cubicBezTo>
                <a:cubicBezTo>
                  <a:pt x="4558797" y="5733642"/>
                  <a:pt x="4242618" y="5760581"/>
                  <a:pt x="3926902" y="5771331"/>
                </a:cubicBezTo>
                <a:lnTo>
                  <a:pt x="3611417" y="5776697"/>
                </a:lnTo>
                <a:lnTo>
                  <a:pt x="3611356" y="5776697"/>
                </a:lnTo>
                <a:lnTo>
                  <a:pt x="3295871" y="5771419"/>
                </a:lnTo>
                <a:cubicBezTo>
                  <a:pt x="2980154" y="5760728"/>
                  <a:pt x="2663975" y="5733760"/>
                  <a:pt x="2348589" y="5690117"/>
                </a:cubicBezTo>
                <a:cubicBezTo>
                  <a:pt x="1959131" y="5636160"/>
                  <a:pt x="1605123" y="5431783"/>
                  <a:pt x="1364359" y="5120748"/>
                </a:cubicBezTo>
                <a:cubicBezTo>
                  <a:pt x="853499" y="4460720"/>
                  <a:pt x="429691" y="3729481"/>
                  <a:pt x="110815" y="2944756"/>
                </a:cubicBezTo>
                <a:cubicBezTo>
                  <a:pt x="-36938" y="2581019"/>
                  <a:pt x="-36938" y="2173364"/>
                  <a:pt x="110815" y="1809627"/>
                </a:cubicBezTo>
                <a:cubicBezTo>
                  <a:pt x="349972" y="1221083"/>
                  <a:pt x="648153" y="662626"/>
                  <a:pt x="997815" y="14173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B9422D26-090A-1AF3-2EA9-8416256101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1996CE3-E4F9-B258-3381-D9894DAB53A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ABE0E797-4658-4DFE-6018-D98FB74717DE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19612476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8E7C69-DF17-0B29-7BD9-663A95C55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8E7C69-DF17-0B29-7BD9-663A95C55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85CD11-F9AA-5B7D-D43C-D50CEA1EC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0" y="0"/>
            <a:ext cx="6974516" cy="5407050"/>
          </a:xfrm>
          <a:custGeom>
            <a:avLst/>
            <a:gdLst>
              <a:gd name="connsiteX0" fmla="*/ 0 w 6974516"/>
              <a:gd name="connsiteY0" fmla="*/ 0 h 5407050"/>
              <a:gd name="connsiteX1" fmla="*/ 6972485 w 6974516"/>
              <a:gd name="connsiteY1" fmla="*/ 0 h 5407050"/>
              <a:gd name="connsiteX2" fmla="*/ 6974516 w 6974516"/>
              <a:gd name="connsiteY2" fmla="*/ 415321 h 5407050"/>
              <a:gd name="connsiteX3" fmla="*/ 6832570 w 6974516"/>
              <a:gd name="connsiteY3" fmla="*/ 2179000 h 5407050"/>
              <a:gd name="connsiteX4" fmla="*/ 6021251 w 6974516"/>
              <a:gd name="connsiteY4" fmla="*/ 3545492 h 5407050"/>
              <a:gd name="connsiteX5" fmla="*/ 2962407 w 6974516"/>
              <a:gd name="connsiteY5" fmla="*/ 5261450 h 5407050"/>
              <a:gd name="connsiteX6" fmla="*/ 1377598 w 6974516"/>
              <a:gd name="connsiteY6" fmla="*/ 5242584 h 5407050"/>
              <a:gd name="connsiteX7" fmla="*/ 184590 w 6974516"/>
              <a:gd name="connsiteY7" fmla="*/ 4666290 h 5407050"/>
              <a:gd name="connsiteX8" fmla="*/ 0 w 6974516"/>
              <a:gd name="connsiteY8" fmla="*/ 4560918 h 540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974516" h="5407050">
                <a:moveTo>
                  <a:pt x="0" y="0"/>
                </a:moveTo>
                <a:lnTo>
                  <a:pt x="6972485" y="0"/>
                </a:lnTo>
                <a:lnTo>
                  <a:pt x="6974516" y="415321"/>
                </a:lnTo>
                <a:cubicBezTo>
                  <a:pt x="6967656" y="1002978"/>
                  <a:pt x="6920744" y="1592249"/>
                  <a:pt x="6832570" y="2179000"/>
                </a:cubicBezTo>
                <a:cubicBezTo>
                  <a:pt x="6750753" y="2722772"/>
                  <a:pt x="6459497" y="3214184"/>
                  <a:pt x="6021251" y="3545492"/>
                </a:cubicBezTo>
                <a:cubicBezTo>
                  <a:pt x="5091189" y="4248460"/>
                  <a:pt x="4063369" y="4828854"/>
                  <a:pt x="2962407" y="5261450"/>
                </a:cubicBezTo>
                <a:cubicBezTo>
                  <a:pt x="2452128" y="5461909"/>
                  <a:pt x="1882832" y="5455150"/>
                  <a:pt x="1377598" y="5242584"/>
                </a:cubicBezTo>
                <a:cubicBezTo>
                  <a:pt x="968747" y="5070563"/>
                  <a:pt x="570651" y="4878012"/>
                  <a:pt x="184590" y="4666290"/>
                </a:cubicBezTo>
                <a:lnTo>
                  <a:pt x="0" y="4560918"/>
                </a:lnTo>
                <a:close/>
              </a:path>
            </a:pathLst>
          </a:custGeom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50C3C129-1DBF-54BB-5B1D-4D0ADC287EE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56325" y="2519363"/>
            <a:ext cx="790575" cy="79057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800" b="1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r>
              <a:rPr lang="fr-FR"/>
              <a:t>01</a:t>
            </a:r>
            <a:endParaRPr lang="fr-FR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3CB2426F-BABB-B082-919A-CF2EE54BDB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1612" y="3548064"/>
            <a:ext cx="5089526" cy="2281237"/>
          </a:xfrm>
        </p:spPr>
        <p:txBody>
          <a:bodyPr vert="horz" anchor="t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 style</a:t>
            </a:r>
            <a:endParaRPr lang="fr-FR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04C8B7C-2023-3632-73B3-6E74EE866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C9C5C40-9C4F-EF2A-5673-03CB4C97DD39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106C400-327A-C093-346A-0C899DA61A73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6587609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chiff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D37AFD-F0BB-50F3-E5CC-6F78B7D74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D37AFD-F0BB-50F3-E5CC-6F78B7D74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AEA98C1-F017-CDD4-C336-F3024D4EB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3275" y="673360"/>
            <a:ext cx="5505452" cy="5511280"/>
          </a:xfrm>
          <a:custGeom>
            <a:avLst/>
            <a:gdLst>
              <a:gd name="connsiteX0" fmla="*/ 2868615 w 5505452"/>
              <a:gd name="connsiteY0" fmla="*/ 391 h 5511280"/>
              <a:gd name="connsiteX1" fmla="*/ 4341041 w 5505452"/>
              <a:gd name="connsiteY1" fmla="*/ 125478 h 5511280"/>
              <a:gd name="connsiteX2" fmla="*/ 5069657 w 5505452"/>
              <a:gd name="connsiteY2" fmla="*/ 485674 h 5511280"/>
              <a:gd name="connsiteX3" fmla="*/ 5391470 w 5505452"/>
              <a:gd name="connsiteY3" fmla="*/ 4289597 h 5511280"/>
              <a:gd name="connsiteX4" fmla="*/ 4632566 w 5505452"/>
              <a:gd name="connsiteY4" fmla="*/ 5306082 h 5511280"/>
              <a:gd name="connsiteX5" fmla="*/ 4631521 w 5505452"/>
              <a:gd name="connsiteY5" fmla="*/ 5306474 h 5511280"/>
              <a:gd name="connsiteX6" fmla="*/ 4631652 w 5505452"/>
              <a:gd name="connsiteY6" fmla="*/ 5306606 h 5511280"/>
              <a:gd name="connsiteX7" fmla="*/ 4129545 w 5505452"/>
              <a:gd name="connsiteY7" fmla="*/ 5422014 h 5511280"/>
              <a:gd name="connsiteX8" fmla="*/ 1367042 w 5505452"/>
              <a:gd name="connsiteY8" fmla="*/ 5420578 h 5511280"/>
              <a:gd name="connsiteX9" fmla="*/ 434503 w 5505452"/>
              <a:gd name="connsiteY9" fmla="*/ 5024088 h 5511280"/>
              <a:gd name="connsiteX10" fmla="*/ 91409 w 5505452"/>
              <a:gd name="connsiteY10" fmla="*/ 4142594 h 5511280"/>
              <a:gd name="connsiteX11" fmla="*/ 234364 w 5505452"/>
              <a:gd name="connsiteY11" fmla="*/ 802787 h 5511280"/>
              <a:gd name="connsiteX12" fmla="*/ 1392762 w 5505452"/>
              <a:gd name="connsiteY12" fmla="*/ 87878 h 5511280"/>
              <a:gd name="connsiteX13" fmla="*/ 2868615 w 5505452"/>
              <a:gd name="connsiteY13" fmla="*/ 391 h 55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05452" h="5511280">
                <a:moveTo>
                  <a:pt x="2868615" y="391"/>
                </a:moveTo>
                <a:cubicBezTo>
                  <a:pt x="3361469" y="4683"/>
                  <a:pt x="3853752" y="44404"/>
                  <a:pt x="4341041" y="125478"/>
                </a:cubicBezTo>
                <a:cubicBezTo>
                  <a:pt x="4610241" y="178351"/>
                  <a:pt x="4882836" y="282272"/>
                  <a:pt x="5069657" y="485674"/>
                </a:cubicBezTo>
                <a:cubicBezTo>
                  <a:pt x="5649705" y="1048487"/>
                  <a:pt x="5529595" y="3486435"/>
                  <a:pt x="5391470" y="4289597"/>
                </a:cubicBezTo>
                <a:cubicBezTo>
                  <a:pt x="5317316" y="4752277"/>
                  <a:pt x="5096290" y="5148636"/>
                  <a:pt x="4632566" y="5306082"/>
                </a:cubicBezTo>
                <a:lnTo>
                  <a:pt x="4631521" y="5306474"/>
                </a:lnTo>
                <a:lnTo>
                  <a:pt x="4631652" y="5306606"/>
                </a:lnTo>
                <a:cubicBezTo>
                  <a:pt x="4471332" y="5365615"/>
                  <a:pt x="4299655" y="5398254"/>
                  <a:pt x="4129545" y="5422014"/>
                </a:cubicBezTo>
                <a:cubicBezTo>
                  <a:pt x="3211496" y="5541340"/>
                  <a:pt x="2285092" y="5541209"/>
                  <a:pt x="1367042" y="5420578"/>
                </a:cubicBezTo>
                <a:cubicBezTo>
                  <a:pt x="1030085" y="5374494"/>
                  <a:pt x="670150" y="5281930"/>
                  <a:pt x="434503" y="5024088"/>
                </a:cubicBezTo>
                <a:cubicBezTo>
                  <a:pt x="215956" y="4788962"/>
                  <a:pt x="134361" y="4455530"/>
                  <a:pt x="91409" y="4142594"/>
                </a:cubicBezTo>
                <a:cubicBezTo>
                  <a:pt x="-25959" y="3206791"/>
                  <a:pt x="-77658" y="1685325"/>
                  <a:pt x="234364" y="802787"/>
                </a:cubicBezTo>
                <a:cubicBezTo>
                  <a:pt x="426016" y="318044"/>
                  <a:pt x="910628" y="142841"/>
                  <a:pt x="1392762" y="87878"/>
                </a:cubicBezTo>
                <a:cubicBezTo>
                  <a:pt x="1882336" y="27237"/>
                  <a:pt x="2375761" y="-3900"/>
                  <a:pt x="2868615" y="39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>
              <a:defRPr sz="2400">
                <a:solidFill>
                  <a:schemeClr val="tx2">
                    <a:alpha val="0"/>
                  </a:schemeClr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400">
                <a:latin typeface="+mn-lt"/>
              </a:defRPr>
            </a:lvl6pPr>
            <a:lvl7pPr>
              <a:defRPr sz="2400">
                <a:latin typeface="+mn-lt"/>
              </a:defRPr>
            </a:lvl7pPr>
            <a:lvl8pPr>
              <a:defRPr sz="2400">
                <a:latin typeface="+mn-lt"/>
              </a:defRPr>
            </a:lvl8pPr>
            <a:lvl9pPr>
              <a:defRPr sz="2400">
                <a:latin typeface="+mn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5A12D32-406D-F3AB-AD94-169529A183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709862" y="1778000"/>
            <a:ext cx="1266825" cy="126682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A0F4720-58FA-D1BB-C331-2B3C62F8E51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7983" y="1896122"/>
            <a:ext cx="1030584" cy="1030582"/>
          </a:xfrm>
          <a:prstGeom prst="ellipse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FB85189-C4B3-9D34-441D-0C6A1BBA4AE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9696" y="3565033"/>
            <a:ext cx="3549811" cy="1633909"/>
          </a:xfrm>
        </p:spPr>
        <p:txBody>
          <a:bodyPr anchor="ctr"/>
          <a:lstStyle>
            <a:lvl1pPr>
              <a:defRPr sz="12000">
                <a:solidFill>
                  <a:schemeClr val="tx1"/>
                </a:solidFill>
                <a:latin typeface="+mn-lt"/>
              </a:defRPr>
            </a:lvl1pPr>
            <a:lvl2pPr>
              <a:defRPr sz="13200">
                <a:solidFill>
                  <a:schemeClr val="tx1"/>
                </a:solidFill>
                <a:latin typeface="+mn-lt"/>
              </a:defRPr>
            </a:lvl2pPr>
            <a:lvl3pPr>
              <a:defRPr sz="13200">
                <a:solidFill>
                  <a:schemeClr val="tx1"/>
                </a:solidFill>
                <a:latin typeface="+mn-lt"/>
              </a:defRPr>
            </a:lvl3pPr>
            <a:lvl4pPr>
              <a:defRPr sz="13200">
                <a:solidFill>
                  <a:schemeClr val="tx1"/>
                </a:solidFill>
                <a:latin typeface="+mn-lt"/>
              </a:defRPr>
            </a:lvl4pPr>
            <a:lvl5pPr>
              <a:defRPr sz="13200">
                <a:solidFill>
                  <a:schemeClr val="tx1"/>
                </a:solidFill>
                <a:latin typeface="+mn-lt"/>
              </a:defRPr>
            </a:lvl5pPr>
            <a:lvl6pPr>
              <a:defRPr sz="13200">
                <a:solidFill>
                  <a:schemeClr val="tx1"/>
                </a:solidFill>
                <a:latin typeface="+mn-lt"/>
              </a:defRPr>
            </a:lvl6pPr>
            <a:lvl7pPr>
              <a:defRPr sz="13200">
                <a:solidFill>
                  <a:schemeClr val="tx1"/>
                </a:solidFill>
                <a:latin typeface="+mn-lt"/>
              </a:defRPr>
            </a:lvl7pPr>
            <a:lvl8pPr>
              <a:defRPr sz="13200">
                <a:solidFill>
                  <a:schemeClr val="tx1"/>
                </a:solidFill>
                <a:latin typeface="+mn-lt"/>
              </a:defRPr>
            </a:lvl8pPr>
            <a:lvl9pPr>
              <a:defRPr sz="13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123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6" name="Titre 15">
            <a:extLst>
              <a:ext uri="{FF2B5EF4-FFF2-40B4-BE49-F238E27FC236}">
                <a16:creationId xmlns:a16="http://schemas.microsoft.com/office/drawing/2014/main" id="{40399346-13F7-EC69-5236-A351BFB43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656" y="1512574"/>
            <a:ext cx="2606400" cy="1818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2200" b="0"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F7804065-68C9-E8A0-496C-7A2E6872670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3E7FE49F-28D0-9363-FFBC-65081A0523E6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691125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graphiq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87FC1-1FD0-043B-6487-9A3FBDBF6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87FC1-1FD0-043B-6487-9A3FBDBF6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4833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0B8556-D223-3D8F-787C-2571FE181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1279232"/>
            <a:ext cx="4697186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F1A2DC-F24C-C692-E909-64EAACD1B2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2768599"/>
            <a:ext cx="4695825" cy="2513013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FEB89C-3196-997C-32D8-873CDD991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49" y="1589088"/>
            <a:ext cx="2448599" cy="712787"/>
          </a:xfrm>
        </p:spPr>
        <p:txBody>
          <a:bodyPr anchor="ctr"/>
          <a:lstStyle>
            <a:lvl1pPr algn="r" rtl="0">
              <a:defRPr sz="1200">
                <a:solidFill>
                  <a:schemeClr val="tx1"/>
                </a:solidFill>
              </a:defRPr>
            </a:lvl1pPr>
            <a:lvl2pPr algn="r">
              <a:defRPr lang="fr-FR" sz="1200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r">
              <a:defRPr sz="1200">
                <a:solidFill>
                  <a:schemeClr val="tx1"/>
                </a:solidFill>
              </a:defRPr>
            </a:lvl3pPr>
            <a:lvl4pPr algn="r">
              <a:defRPr sz="1200">
                <a:solidFill>
                  <a:schemeClr val="tx1"/>
                </a:solidFill>
              </a:defRPr>
            </a:lvl4pPr>
            <a:lvl5pPr algn="r">
              <a:defRPr sz="1200">
                <a:solidFill>
                  <a:schemeClr val="tx1"/>
                </a:solidFill>
              </a:defRPr>
            </a:lvl5pPr>
            <a:lvl6pPr algn="r">
              <a:defRPr sz="1200">
                <a:solidFill>
                  <a:schemeClr val="tx1"/>
                </a:solidFill>
              </a:defRPr>
            </a:lvl6pPr>
            <a:lvl7pPr algn="r">
              <a:defRPr sz="1200">
                <a:solidFill>
                  <a:schemeClr val="tx1"/>
                </a:solidFill>
              </a:defRPr>
            </a:lvl7pPr>
            <a:lvl8pPr algn="r">
              <a:defRPr sz="1200">
                <a:solidFill>
                  <a:schemeClr val="tx1"/>
                </a:solidFill>
              </a:defRPr>
            </a:lvl8pPr>
            <a:lvl9pPr algn="r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noProof="0" dirty="0"/>
              <a:t>Légend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id="{0CC9EDCF-AD58-FDCC-321C-17C24484F42C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203949" y="2501900"/>
            <a:ext cx="5437188" cy="277971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7DD9531-BEB9-A091-6FE5-BE1B6AD609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16717" y="1503362"/>
            <a:ext cx="0" cy="1800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D33963E-9E4F-B88A-245F-9EDDDDE104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9538" y="1503363"/>
            <a:ext cx="2294611" cy="1316038"/>
          </a:xfrm>
        </p:spPr>
        <p:txBody>
          <a:bodyPr anchor="t"/>
          <a:lstStyle>
            <a:lvl1pPr>
              <a:defRPr sz="4800"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  <a:lvl6pPr>
              <a:defRPr sz="1200">
                <a:solidFill>
                  <a:schemeClr val="tx1"/>
                </a:solidFill>
                <a:latin typeface="+mn-lt"/>
              </a:defRPr>
            </a:lvl6pPr>
            <a:lvl7pPr>
              <a:defRPr sz="1200">
                <a:solidFill>
                  <a:schemeClr val="tx1"/>
                </a:solidFill>
                <a:latin typeface="+mn-lt"/>
              </a:defRPr>
            </a:lvl7pPr>
            <a:lvl8pPr>
              <a:defRPr sz="1200">
                <a:solidFill>
                  <a:schemeClr val="tx1"/>
                </a:solidFill>
                <a:latin typeface="+mn-lt"/>
              </a:defRPr>
            </a:lvl8pPr>
            <a:lvl9pPr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00</a:t>
            </a:r>
          </a:p>
          <a:p>
            <a:pPr lvl="1"/>
            <a:r>
              <a:rPr lang="fr-FR"/>
              <a:t>Second level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ED2E36-89E2-288D-92E1-24C48CD5C35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45977B1C-54CB-D689-0F46-7DEC1CA5B5A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804325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BC366C-44BA-C9B6-5004-F41F5BF23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C366C-44BA-C9B6-5004-F41F5BF23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B183AF7-879A-2AFA-21DC-289DBC68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380072"/>
            <a:ext cx="4697186" cy="1325563"/>
          </a:xfrm>
        </p:spPr>
        <p:txBody>
          <a:bodyPr vert="horz" anchor="ctr"/>
          <a:lstStyle>
            <a:lvl1pPr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D706AA7-5A5B-17DB-0FE9-28DF9E7E86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lang="en-US" sz="2200" kern="1200" spc="-2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3875C6-8834-F3EC-0C6F-03493468ACB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203950" y="0"/>
            <a:ext cx="5988048" cy="5816599"/>
          </a:xfrm>
          <a:custGeom>
            <a:avLst/>
            <a:gdLst>
              <a:gd name="connsiteX0" fmla="*/ 977798 w 5988048"/>
              <a:gd name="connsiteY0" fmla="*/ 0 h 5816599"/>
              <a:gd name="connsiteX1" fmla="*/ 5988048 w 5988048"/>
              <a:gd name="connsiteY1" fmla="*/ 0 h 5816599"/>
              <a:gd name="connsiteX2" fmla="*/ 5988048 w 5988048"/>
              <a:gd name="connsiteY2" fmla="*/ 5317928 h 5816599"/>
              <a:gd name="connsiteX3" fmla="*/ 5954698 w 5988048"/>
              <a:gd name="connsiteY3" fmla="*/ 5349988 h 5816599"/>
              <a:gd name="connsiteX4" fmla="*/ 5129858 w 5988048"/>
              <a:gd name="connsiteY4" fmla="*/ 5725478 h 5816599"/>
              <a:gd name="connsiteX5" fmla="*/ 4132887 w 5988048"/>
              <a:gd name="connsiteY5" fmla="*/ 5810952 h 5816599"/>
              <a:gd name="connsiteX6" fmla="*/ 3800853 w 5988048"/>
              <a:gd name="connsiteY6" fmla="*/ 5816599 h 5816599"/>
              <a:gd name="connsiteX7" fmla="*/ 3800789 w 5988048"/>
              <a:gd name="connsiteY7" fmla="*/ 5816599 h 5816599"/>
              <a:gd name="connsiteX8" fmla="*/ 3468755 w 5988048"/>
              <a:gd name="connsiteY8" fmla="*/ 5811044 h 5816599"/>
              <a:gd name="connsiteX9" fmla="*/ 2471784 w 5988048"/>
              <a:gd name="connsiteY9" fmla="*/ 5725478 h 5816599"/>
              <a:gd name="connsiteX10" fmla="*/ 1435926 w 5988048"/>
              <a:gd name="connsiteY10" fmla="*/ 5126243 h 5816599"/>
              <a:gd name="connsiteX11" fmla="*/ 116628 w 5988048"/>
              <a:gd name="connsiteY11" fmla="*/ 2836109 h 5816599"/>
              <a:gd name="connsiteX12" fmla="*/ 116628 w 5988048"/>
              <a:gd name="connsiteY12" fmla="*/ 1641437 h 5816599"/>
              <a:gd name="connsiteX13" fmla="*/ 784436 w 5988048"/>
              <a:gd name="connsiteY13" fmla="*/ 304505 h 5816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88048" h="5816599">
                <a:moveTo>
                  <a:pt x="977798" y="0"/>
                </a:moveTo>
                <a:lnTo>
                  <a:pt x="5988048" y="0"/>
                </a:lnTo>
                <a:lnTo>
                  <a:pt x="5988048" y="5317928"/>
                </a:lnTo>
                <a:lnTo>
                  <a:pt x="5954698" y="5349988"/>
                </a:lnTo>
                <a:cubicBezTo>
                  <a:pt x="5723856" y="5551247"/>
                  <a:pt x="5437398" y="5682887"/>
                  <a:pt x="5129858" y="5725478"/>
                </a:cubicBezTo>
                <a:cubicBezTo>
                  <a:pt x="4797928" y="5771286"/>
                  <a:pt x="4465164" y="5799638"/>
                  <a:pt x="4132887" y="5810952"/>
                </a:cubicBezTo>
                <a:lnTo>
                  <a:pt x="3800853" y="5816599"/>
                </a:lnTo>
                <a:lnTo>
                  <a:pt x="3800789" y="5816599"/>
                </a:lnTo>
                <a:lnTo>
                  <a:pt x="3468755" y="5811044"/>
                </a:lnTo>
                <a:cubicBezTo>
                  <a:pt x="3136478" y="5799793"/>
                  <a:pt x="2803713" y="5771410"/>
                  <a:pt x="2471784" y="5725478"/>
                </a:cubicBezTo>
                <a:cubicBezTo>
                  <a:pt x="2061897" y="5668690"/>
                  <a:pt x="1689320" y="5453593"/>
                  <a:pt x="1435926" y="5126243"/>
                </a:cubicBezTo>
                <a:cubicBezTo>
                  <a:pt x="898269" y="4431593"/>
                  <a:pt x="452231" y="3661997"/>
                  <a:pt x="116628" y="2836109"/>
                </a:cubicBezTo>
                <a:cubicBezTo>
                  <a:pt x="-38876" y="2453292"/>
                  <a:pt x="-38876" y="2024254"/>
                  <a:pt x="116628" y="1641437"/>
                </a:cubicBezTo>
                <a:cubicBezTo>
                  <a:pt x="305404" y="1176875"/>
                  <a:pt x="529124" y="730125"/>
                  <a:pt x="784436" y="30450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91FA749-0AB6-BAA9-E7E8-FE1C86D77D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BEACFE-831D-FA05-F069-17FCDC314FCC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D0D3047-C507-2E11-B5C0-D859B698C89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706892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nd chiff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D37AFD-F0BB-50F3-E5CC-6F78B7D74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10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D37AFD-F0BB-50F3-E5CC-6F78B7D74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AEA98C1-F017-CDD4-C336-F3024D4EB6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43275" y="673360"/>
            <a:ext cx="5505452" cy="5511280"/>
          </a:xfrm>
          <a:custGeom>
            <a:avLst/>
            <a:gdLst>
              <a:gd name="connsiteX0" fmla="*/ 2868615 w 5505452"/>
              <a:gd name="connsiteY0" fmla="*/ 391 h 5511280"/>
              <a:gd name="connsiteX1" fmla="*/ 4341041 w 5505452"/>
              <a:gd name="connsiteY1" fmla="*/ 125478 h 5511280"/>
              <a:gd name="connsiteX2" fmla="*/ 5069657 w 5505452"/>
              <a:gd name="connsiteY2" fmla="*/ 485674 h 5511280"/>
              <a:gd name="connsiteX3" fmla="*/ 5391470 w 5505452"/>
              <a:gd name="connsiteY3" fmla="*/ 4289597 h 5511280"/>
              <a:gd name="connsiteX4" fmla="*/ 4632566 w 5505452"/>
              <a:gd name="connsiteY4" fmla="*/ 5306082 h 5511280"/>
              <a:gd name="connsiteX5" fmla="*/ 4631521 w 5505452"/>
              <a:gd name="connsiteY5" fmla="*/ 5306474 h 5511280"/>
              <a:gd name="connsiteX6" fmla="*/ 4631652 w 5505452"/>
              <a:gd name="connsiteY6" fmla="*/ 5306606 h 5511280"/>
              <a:gd name="connsiteX7" fmla="*/ 4129545 w 5505452"/>
              <a:gd name="connsiteY7" fmla="*/ 5422014 h 5511280"/>
              <a:gd name="connsiteX8" fmla="*/ 1367042 w 5505452"/>
              <a:gd name="connsiteY8" fmla="*/ 5420578 h 5511280"/>
              <a:gd name="connsiteX9" fmla="*/ 434503 w 5505452"/>
              <a:gd name="connsiteY9" fmla="*/ 5024088 h 5511280"/>
              <a:gd name="connsiteX10" fmla="*/ 91409 w 5505452"/>
              <a:gd name="connsiteY10" fmla="*/ 4142594 h 5511280"/>
              <a:gd name="connsiteX11" fmla="*/ 234364 w 5505452"/>
              <a:gd name="connsiteY11" fmla="*/ 802787 h 5511280"/>
              <a:gd name="connsiteX12" fmla="*/ 1392762 w 5505452"/>
              <a:gd name="connsiteY12" fmla="*/ 87878 h 5511280"/>
              <a:gd name="connsiteX13" fmla="*/ 2868615 w 5505452"/>
              <a:gd name="connsiteY13" fmla="*/ 391 h 55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505452" h="5511280">
                <a:moveTo>
                  <a:pt x="2868615" y="391"/>
                </a:moveTo>
                <a:cubicBezTo>
                  <a:pt x="3361469" y="4683"/>
                  <a:pt x="3853752" y="44404"/>
                  <a:pt x="4341041" y="125478"/>
                </a:cubicBezTo>
                <a:cubicBezTo>
                  <a:pt x="4610241" y="178351"/>
                  <a:pt x="4882836" y="282272"/>
                  <a:pt x="5069657" y="485674"/>
                </a:cubicBezTo>
                <a:cubicBezTo>
                  <a:pt x="5649705" y="1048487"/>
                  <a:pt x="5529595" y="3486435"/>
                  <a:pt x="5391470" y="4289597"/>
                </a:cubicBezTo>
                <a:cubicBezTo>
                  <a:pt x="5317316" y="4752277"/>
                  <a:pt x="5096290" y="5148636"/>
                  <a:pt x="4632566" y="5306082"/>
                </a:cubicBezTo>
                <a:lnTo>
                  <a:pt x="4631521" y="5306474"/>
                </a:lnTo>
                <a:lnTo>
                  <a:pt x="4631652" y="5306606"/>
                </a:lnTo>
                <a:cubicBezTo>
                  <a:pt x="4471332" y="5365615"/>
                  <a:pt x="4299655" y="5398254"/>
                  <a:pt x="4129545" y="5422014"/>
                </a:cubicBezTo>
                <a:cubicBezTo>
                  <a:pt x="3211496" y="5541340"/>
                  <a:pt x="2285092" y="5541209"/>
                  <a:pt x="1367042" y="5420578"/>
                </a:cubicBezTo>
                <a:cubicBezTo>
                  <a:pt x="1030085" y="5374494"/>
                  <a:pt x="670150" y="5281930"/>
                  <a:pt x="434503" y="5024088"/>
                </a:cubicBezTo>
                <a:cubicBezTo>
                  <a:pt x="215956" y="4788962"/>
                  <a:pt x="134361" y="4455530"/>
                  <a:pt x="91409" y="4142594"/>
                </a:cubicBezTo>
                <a:cubicBezTo>
                  <a:pt x="-25959" y="3206791"/>
                  <a:pt x="-77658" y="1685325"/>
                  <a:pt x="234364" y="802787"/>
                </a:cubicBezTo>
                <a:cubicBezTo>
                  <a:pt x="426016" y="318044"/>
                  <a:pt x="910628" y="142841"/>
                  <a:pt x="1392762" y="87878"/>
                </a:cubicBezTo>
                <a:cubicBezTo>
                  <a:pt x="1882336" y="27237"/>
                  <a:pt x="2375761" y="-3900"/>
                  <a:pt x="2868615" y="391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>
              <a:defRPr sz="2400">
                <a:solidFill>
                  <a:schemeClr val="tx2">
                    <a:alpha val="0"/>
                  </a:schemeClr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  <a:lvl6pPr>
              <a:defRPr sz="2400">
                <a:latin typeface="+mn-lt"/>
              </a:defRPr>
            </a:lvl6pPr>
            <a:lvl7pPr>
              <a:defRPr sz="2400">
                <a:latin typeface="+mn-lt"/>
              </a:defRPr>
            </a:lvl7pPr>
            <a:lvl8pPr>
              <a:defRPr sz="2400">
                <a:latin typeface="+mn-lt"/>
              </a:defRPr>
            </a:lvl8pPr>
            <a:lvl9pPr>
              <a:defRPr sz="2400">
                <a:latin typeface="+mn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E5A12D32-406D-F3AB-AD94-169529A183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709862" y="1778000"/>
            <a:ext cx="1266825" cy="1266825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A0F4720-58FA-D1BB-C331-2B3C62F8E51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27983" y="1896122"/>
            <a:ext cx="1030584" cy="1030582"/>
          </a:xfrm>
          <a:prstGeom prst="ellipse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FB85189-C4B3-9D34-441D-0C6A1BBA4AE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89696" y="3565033"/>
            <a:ext cx="3549811" cy="1633909"/>
          </a:xfrm>
        </p:spPr>
        <p:txBody>
          <a:bodyPr anchor="ctr"/>
          <a:lstStyle>
            <a:lvl1pPr>
              <a:defRPr sz="12000">
                <a:solidFill>
                  <a:schemeClr val="tx1"/>
                </a:solidFill>
                <a:latin typeface="+mn-lt"/>
              </a:defRPr>
            </a:lvl1pPr>
            <a:lvl2pPr>
              <a:defRPr sz="13200">
                <a:solidFill>
                  <a:schemeClr val="tx1"/>
                </a:solidFill>
                <a:latin typeface="+mn-lt"/>
              </a:defRPr>
            </a:lvl2pPr>
            <a:lvl3pPr>
              <a:defRPr sz="13200">
                <a:solidFill>
                  <a:schemeClr val="tx1"/>
                </a:solidFill>
                <a:latin typeface="+mn-lt"/>
              </a:defRPr>
            </a:lvl3pPr>
            <a:lvl4pPr>
              <a:defRPr sz="13200">
                <a:solidFill>
                  <a:schemeClr val="tx1"/>
                </a:solidFill>
                <a:latin typeface="+mn-lt"/>
              </a:defRPr>
            </a:lvl4pPr>
            <a:lvl5pPr>
              <a:defRPr sz="13200">
                <a:solidFill>
                  <a:schemeClr val="tx1"/>
                </a:solidFill>
                <a:latin typeface="+mn-lt"/>
              </a:defRPr>
            </a:lvl5pPr>
            <a:lvl6pPr>
              <a:defRPr sz="13200">
                <a:solidFill>
                  <a:schemeClr val="tx1"/>
                </a:solidFill>
                <a:latin typeface="+mn-lt"/>
              </a:defRPr>
            </a:lvl6pPr>
            <a:lvl7pPr>
              <a:defRPr sz="13200">
                <a:solidFill>
                  <a:schemeClr val="tx1"/>
                </a:solidFill>
                <a:latin typeface="+mn-lt"/>
              </a:defRPr>
            </a:lvl7pPr>
            <a:lvl8pPr>
              <a:defRPr sz="13200">
                <a:solidFill>
                  <a:schemeClr val="tx1"/>
                </a:solidFill>
                <a:latin typeface="+mn-lt"/>
              </a:defRPr>
            </a:lvl8pPr>
            <a:lvl9pPr>
              <a:defRPr sz="13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123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6" name="Titre 15">
            <a:extLst>
              <a:ext uri="{FF2B5EF4-FFF2-40B4-BE49-F238E27FC236}">
                <a16:creationId xmlns:a16="http://schemas.microsoft.com/office/drawing/2014/main" id="{40399346-13F7-EC69-5236-A351BFB43A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3656" y="1512574"/>
            <a:ext cx="2606400" cy="18180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2200" b="0">
                <a:latin typeface="+mn-lt"/>
                <a:ea typeface="+mn-ea"/>
                <a:cs typeface="+mn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F7804065-68C9-E8A0-496C-7A2E6872670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3E7FE49F-28D0-9363-FFBC-65081A0523E6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691125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enc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603BC-AA75-68C3-FD43-1A7077A4D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603BC-AA75-68C3-FD43-1A7077A4D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34EF12B4-AA43-4053-A66C-946FE68344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7256" y="574675"/>
            <a:ext cx="5079208" cy="1463935"/>
          </a:xfrm>
        </p:spPr>
        <p:txBody>
          <a:bodyPr vert="horz" anchor="t"/>
          <a:lstStyle>
            <a:lvl1pPr>
              <a:defRPr lang="fr-FR" sz="4800" dirty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title</a:t>
            </a:r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9DF51427-88DB-D49F-5F03-7036FB8CA38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950" y="574675"/>
            <a:ext cx="5437188" cy="1463935"/>
          </a:xfrm>
        </p:spPr>
        <p:txBody>
          <a:bodyPr anchor="t"/>
          <a:lstStyle>
            <a:lvl1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5pPr>
            <a:lvl6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6pPr>
            <a:lvl7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7pPr>
            <a:lvl8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8pPr>
            <a:lvl9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fr-FR"/>
              <a:t>Click to edit Master text styles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29BF562-98DD-315E-A97B-ECF8465E73E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9479" y="2420079"/>
            <a:ext cx="3292298" cy="32957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C28AA431-B134-94DB-ED63-488184724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34489" y="2767024"/>
            <a:ext cx="609980" cy="60998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03E6A5B2-F702-AF15-CE11-C2A18E95FB69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82692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81EAFF9-5B77-0ACC-8C35-C4C8E87F1C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14951" y="2420079"/>
            <a:ext cx="3292298" cy="32957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F606C3A-EBE4-E88B-EF63-58F588497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309961" y="2767024"/>
            <a:ext cx="609980" cy="609980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43026DA-1F0C-57E8-84F9-017BDC7BD0ED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8164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B27D59E6-1616-CEE7-69D6-36B19579669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91216" y="2420079"/>
            <a:ext cx="3292298" cy="32957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AE453FD-E568-AEAA-B810-6ADE4D2B4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085433" y="2767024"/>
            <a:ext cx="609980" cy="609980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D98AD34D-61AD-643B-EAA3-BFF5792F263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133636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dirty="0"/>
              <a:t>Picto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AF16EDB-3137-6B9E-C9C2-56784BFC169C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B4CD95-AEDB-8CAD-CB17-67579BF4B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314309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2 encar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08B8A33-A560-179D-82DB-3D758F1E0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380072"/>
            <a:ext cx="4697186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B8E6E82-8A6B-2C99-8BD3-F8C245E081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B0EF252-B930-24AC-7A2E-91A1F16015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112000" y="0"/>
            <a:ext cx="5075326" cy="6858000"/>
          </a:xfrm>
          <a:custGeom>
            <a:avLst/>
            <a:gdLst>
              <a:gd name="connsiteX0" fmla="*/ 378139 w 5075326"/>
              <a:gd name="connsiteY0" fmla="*/ 0 h 6858000"/>
              <a:gd name="connsiteX1" fmla="*/ 5075326 w 5075326"/>
              <a:gd name="connsiteY1" fmla="*/ 0 h 6858000"/>
              <a:gd name="connsiteX2" fmla="*/ 5075326 w 5075326"/>
              <a:gd name="connsiteY2" fmla="*/ 6858000 h 6858000"/>
              <a:gd name="connsiteX3" fmla="*/ 365542 w 5075326"/>
              <a:gd name="connsiteY3" fmla="*/ 6858000 h 6858000"/>
              <a:gd name="connsiteX4" fmla="*/ 363417 w 5075326"/>
              <a:gd name="connsiteY4" fmla="*/ 6852613 h 6858000"/>
              <a:gd name="connsiteX5" fmla="*/ 168536 w 5075326"/>
              <a:gd name="connsiteY5" fmla="*/ 5986189 h 6858000"/>
              <a:gd name="connsiteX6" fmla="*/ 331966 w 5075326"/>
              <a:gd name="connsiteY6" fmla="*/ 1467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326" h="6858000">
                <a:moveTo>
                  <a:pt x="378139" y="0"/>
                </a:moveTo>
                <a:lnTo>
                  <a:pt x="5075326" y="0"/>
                </a:lnTo>
                <a:lnTo>
                  <a:pt x="5075326" y="6858000"/>
                </a:lnTo>
                <a:lnTo>
                  <a:pt x="365542" y="6858000"/>
                </a:lnTo>
                <a:lnTo>
                  <a:pt x="363417" y="6852613"/>
                </a:lnTo>
                <a:cubicBezTo>
                  <a:pt x="265540" y="6572611"/>
                  <a:pt x="208132" y="6274676"/>
                  <a:pt x="168536" y="5986189"/>
                </a:cubicBezTo>
                <a:cubicBezTo>
                  <a:pt x="-34336" y="4368644"/>
                  <a:pt x="-130792" y="1802044"/>
                  <a:pt x="331966" y="14678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540000" tIns="360000" rIns="288000" rtlCol="0" anchor="t"/>
          <a:lstStyle/>
          <a:p>
            <a:pPr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2B7FD5C-6687-6D69-BD19-BCB5FB5DB07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99276" y="574674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AC6F338-F800-EA0B-E6A5-F584D4AA8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69152" y="1289656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3F83AF8-FFF7-1E77-E820-DB1A59E6AD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37132" y="1357637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92E29AB-80FC-8D0E-7245-540A9181F8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99276" y="3526388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8BC4A9FB-B1CE-760D-5D8E-2BFE9EDF8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69152" y="4241369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3CA883B6-3D31-179E-643B-119B00E3319F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837132" y="4309350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Picto.</a:t>
            </a:r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099362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titre et contenu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560AD59-D9D5-7C64-F119-61EC0D4BB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0AD59-D9D5-7C64-F119-61EC0D4BB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BE932022-157D-1370-3310-AACB88CF8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V="1">
            <a:off x="1" y="1843991"/>
            <a:ext cx="6205537" cy="5014009"/>
          </a:xfrm>
          <a:custGeom>
            <a:avLst/>
            <a:gdLst>
              <a:gd name="connsiteX0" fmla="*/ 0 w 6046847"/>
              <a:gd name="connsiteY0" fmla="*/ 4885789 h 4885789"/>
              <a:gd name="connsiteX1" fmla="*/ 170126 w 6046847"/>
              <a:gd name="connsiteY1" fmla="*/ 4840091 h 4885789"/>
              <a:gd name="connsiteX2" fmla="*/ 381130 w 6046847"/>
              <a:gd name="connsiteY2" fmla="*/ 4766650 h 4885789"/>
              <a:gd name="connsiteX3" fmla="*/ 4824470 w 6046847"/>
              <a:gd name="connsiteY3" fmla="*/ 2303176 h 4885789"/>
              <a:gd name="connsiteX4" fmla="*/ 5999848 w 6046847"/>
              <a:gd name="connsiteY4" fmla="*/ 349430 h 4885789"/>
              <a:gd name="connsiteX5" fmla="*/ 6046847 w 6046847"/>
              <a:gd name="connsiteY5" fmla="*/ 0 h 4885789"/>
              <a:gd name="connsiteX6" fmla="*/ 0 w 6046847"/>
              <a:gd name="connsiteY6" fmla="*/ 0 h 488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6847" h="4885789">
                <a:moveTo>
                  <a:pt x="0" y="4885789"/>
                </a:moveTo>
                <a:lnTo>
                  <a:pt x="170126" y="4840091"/>
                </a:lnTo>
                <a:cubicBezTo>
                  <a:pt x="241132" y="4818239"/>
                  <a:pt x="311516" y="4793760"/>
                  <a:pt x="381130" y="4766650"/>
                </a:cubicBezTo>
                <a:cubicBezTo>
                  <a:pt x="1957046" y="4152868"/>
                  <a:pt x="3454842" y="3327794"/>
                  <a:pt x="4824470" y="2303176"/>
                </a:cubicBezTo>
                <a:cubicBezTo>
                  <a:pt x="5459151" y="1828356"/>
                  <a:pt x="5881345" y="1126520"/>
                  <a:pt x="5999848" y="349430"/>
                </a:cubicBezTo>
                <a:lnTo>
                  <a:pt x="6046847" y="0"/>
                </a:lnTo>
                <a:lnTo>
                  <a:pt x="0" y="0"/>
                </a:lnTo>
                <a:close/>
              </a:path>
            </a:pathLst>
          </a:custGeom>
          <a:solidFill>
            <a:srgbClr val="B0BFF0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472F42F-FE27-09E8-91A8-7BA1EB3875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4675" y="587374"/>
            <a:ext cx="4432300" cy="5241925"/>
          </a:xfrm>
        </p:spPr>
        <p:txBody>
          <a:bodyPr anchor="ctr"/>
          <a:lstStyle>
            <a:lvl1pPr algn="ctr">
              <a:defRPr sz="1200" b="1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09443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533FCBD-DAE8-F5A3-E555-B5587B429A0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4630" y="1869439"/>
            <a:ext cx="5436508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7CFE410-8CFF-B7FB-4AEB-09F8DDDDD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15" name="Titre 14">
            <a:extLst>
              <a:ext uri="{FF2B5EF4-FFF2-40B4-BE49-F238E27FC236}">
                <a16:creationId xmlns:a16="http://schemas.microsoft.com/office/drawing/2014/main" id="{1C8D1F4F-83C7-1A41-DAC5-B43B16CDA0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2434" y="380835"/>
            <a:ext cx="5439600" cy="1324800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sz="480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>
              <a:spcBef>
                <a:spcPts val="0"/>
              </a:spcBef>
              <a:spcAft>
                <a:spcPts val="1200"/>
              </a:spcAft>
            </a:pPr>
            <a:r>
              <a:rPr lang="fr-FR" dirty="0"/>
              <a:t>Click </a:t>
            </a:r>
            <a:r>
              <a:rPr lang="fr-FR"/>
              <a:t>to edit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77FC4FD-7BA5-8C66-FB8D-0BB2E3B25E8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FF52CE2-86FD-14E7-8C4E-090F69AB1B8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1085758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deux contenu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1A4A706-374B-9D30-F8E0-8CED29F57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4A706-374B-9D30-F8E0-8CED29F57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4CD58D7-78D8-5A17-A188-238F3302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0800000">
            <a:off x="0" y="0"/>
            <a:ext cx="1309535" cy="5204582"/>
          </a:xfrm>
          <a:custGeom>
            <a:avLst/>
            <a:gdLst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309535 w 1400975"/>
              <a:gd name="connsiteY0" fmla="*/ 5204582 h 5296022"/>
              <a:gd name="connsiteX1" fmla="*/ 121487 w 1400975"/>
              <a:gd name="connsiteY1" fmla="*/ 5204582 h 5296022"/>
              <a:gd name="connsiteX2" fmla="*/ 120441 w 1400975"/>
              <a:gd name="connsiteY2" fmla="*/ 5199379 h 5296022"/>
              <a:gd name="connsiteX3" fmla="*/ 1298653 w 1400975"/>
              <a:gd name="connsiteY3" fmla="*/ 11547 h 5296022"/>
              <a:gd name="connsiteX4" fmla="*/ 1309535 w 1400975"/>
              <a:gd name="connsiteY4" fmla="*/ 0 h 5296022"/>
              <a:gd name="connsiteX5" fmla="*/ 1400975 w 1400975"/>
              <a:gd name="connsiteY5" fmla="*/ 5296022 h 5296022"/>
              <a:gd name="connsiteX0" fmla="*/ 1309535 w 1309535"/>
              <a:gd name="connsiteY0" fmla="*/ 5204582 h 5204582"/>
              <a:gd name="connsiteX1" fmla="*/ 121487 w 1309535"/>
              <a:gd name="connsiteY1" fmla="*/ 5204582 h 5204582"/>
              <a:gd name="connsiteX2" fmla="*/ 120441 w 1309535"/>
              <a:gd name="connsiteY2" fmla="*/ 5199379 h 5204582"/>
              <a:gd name="connsiteX3" fmla="*/ 1298653 w 1309535"/>
              <a:gd name="connsiteY3" fmla="*/ 11547 h 5204582"/>
              <a:gd name="connsiteX4" fmla="*/ 1309535 w 1309535"/>
              <a:gd name="connsiteY4" fmla="*/ 0 h 5204582"/>
              <a:gd name="connsiteX0" fmla="*/ 121487 w 1309535"/>
              <a:gd name="connsiteY0" fmla="*/ 5204582 h 5204582"/>
              <a:gd name="connsiteX1" fmla="*/ 120441 w 1309535"/>
              <a:gd name="connsiteY1" fmla="*/ 5199379 h 5204582"/>
              <a:gd name="connsiteX2" fmla="*/ 1298653 w 1309535"/>
              <a:gd name="connsiteY2" fmla="*/ 11547 h 5204582"/>
              <a:gd name="connsiteX3" fmla="*/ 1309535 w 1309535"/>
              <a:gd name="connsiteY3" fmla="*/ 0 h 5204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9535" h="5204582">
                <a:moveTo>
                  <a:pt x="121487" y="5204582"/>
                </a:moveTo>
                <a:lnTo>
                  <a:pt x="120441" y="5199379"/>
                </a:lnTo>
                <a:cubicBezTo>
                  <a:pt x="-176764" y="3459435"/>
                  <a:pt x="25807" y="1522431"/>
                  <a:pt x="1298653" y="11547"/>
                </a:cubicBezTo>
                <a:lnTo>
                  <a:pt x="1309535" y="0"/>
                </a:lnTo>
              </a:path>
            </a:pathLst>
          </a:custGeom>
          <a:noFill/>
          <a:ln w="12700" cap="flat">
            <a:solidFill>
              <a:schemeClr val="accent6"/>
            </a:solidFill>
            <a:prstDash val="solid"/>
            <a:miter/>
          </a:ln>
        </p:spPr>
        <p:txBody>
          <a:bodyPr lIns="540000" tIns="360000" rIns="288000" rtlCol="0" anchor="t"/>
          <a:lstStyle/>
          <a:p>
            <a:pPr lvl="0"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EB23A81C-0601-8D71-6316-415A0C0230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6613" y="1910376"/>
            <a:ext cx="790575" cy="790575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sz="3800" dirty="0">
                <a:solidFill>
                  <a:schemeClr val="accent3">
                    <a:alpha val="0"/>
                  </a:schemeClr>
                </a:solidFill>
                <a:latin typeface="+mn-lt"/>
              </a:defRPr>
            </a:lvl1pPr>
          </a:lstStyle>
          <a:p>
            <a:pPr lvl="0" algn="ctr">
              <a:spcAft>
                <a:spcPts val="0"/>
              </a:spcAft>
            </a:pPr>
            <a:endParaRPr lang="fr-FR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39B37FF7-EEC5-C617-9A0E-73FBD2B66A9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01701" y="1975464"/>
            <a:ext cx="660400" cy="660400"/>
          </a:xfrm>
          <a:prstGeom prst="ellipse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16" name="Title 29">
            <a:extLst>
              <a:ext uri="{FF2B5EF4-FFF2-40B4-BE49-F238E27FC236}">
                <a16:creationId xmlns:a16="http://schemas.microsoft.com/office/drawing/2014/main" id="{8696F007-0692-050C-3E59-5803D154D5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95185" y="574675"/>
            <a:ext cx="9720552" cy="711200"/>
          </a:xfrm>
        </p:spPr>
        <p:txBody>
          <a:bodyPr vert="horz" anchor="t"/>
          <a:lstStyle>
            <a:lvl1pPr>
              <a:defRPr sz="4800" spc="-2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</a:t>
            </a:r>
            <a:endParaRPr lang="fr-FR" dirty="0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A77F08A-B5CB-709C-4BD6-D127EAA251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95187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4pPr>
            <a:lvl5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5pPr>
            <a:lvl6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6pPr>
            <a:lvl7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7pPr>
            <a:lvl8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8pPr>
            <a:lvl9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pic>
        <p:nvPicPr>
          <p:cNvPr id="8" name="Graphic 1">
            <a:extLst>
              <a:ext uri="{FF2B5EF4-FFF2-40B4-BE49-F238E27FC236}">
                <a16:creationId xmlns:a16="http://schemas.microsoft.com/office/drawing/2014/main" id="{53A8FFC1-B893-1D6B-1858-69770A7DB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22C13602-EAC4-1F00-D9C9-4B498785152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059323" y="2046104"/>
            <a:ext cx="4556414" cy="3730582"/>
          </a:xfrm>
        </p:spPr>
        <p:txBody>
          <a:bodyPr numCol="1" spcCol="0" anchor="t"/>
          <a:lstStyle>
            <a:lvl1pPr>
              <a:lnSpc>
                <a:spcPct val="90000"/>
              </a:lnSpc>
              <a:spcAft>
                <a:spcPts val="2400"/>
              </a:spcAft>
              <a:defRPr sz="1600" b="1">
                <a:solidFill>
                  <a:schemeClr val="accent6"/>
                </a:solidFill>
                <a:latin typeface="+mj-lt"/>
              </a:defRPr>
            </a:lvl1pPr>
            <a:lvl2pPr>
              <a:spcAft>
                <a:spcPts val="1200"/>
              </a:spcAft>
              <a:defRPr sz="1200">
                <a:solidFill>
                  <a:schemeClr val="tx2"/>
                </a:solidFill>
                <a:latin typeface="+mn-lt"/>
              </a:defRPr>
            </a:lvl2pPr>
            <a:lvl3pPr>
              <a:spcAft>
                <a:spcPts val="1200"/>
              </a:spcAft>
              <a:defRPr sz="1200">
                <a:latin typeface="+mn-lt"/>
              </a:defRPr>
            </a:lvl3pPr>
            <a:lvl4pPr>
              <a:spcAft>
                <a:spcPts val="1200"/>
              </a:spcAft>
              <a:defRPr sz="1200">
                <a:latin typeface="+mn-lt"/>
              </a:defRPr>
            </a:lvl4pPr>
            <a:lvl5pPr>
              <a:spcAft>
                <a:spcPts val="1200"/>
              </a:spcAft>
              <a:defRPr sz="1200">
                <a:latin typeface="+mn-lt"/>
              </a:defRPr>
            </a:lvl5pPr>
            <a:lvl6pPr>
              <a:spcAft>
                <a:spcPts val="1200"/>
              </a:spcAft>
              <a:defRPr sz="1200">
                <a:latin typeface="+mn-lt"/>
              </a:defRPr>
            </a:lvl6pPr>
            <a:lvl7pPr>
              <a:spcAft>
                <a:spcPts val="1200"/>
              </a:spcAft>
              <a:defRPr sz="1200">
                <a:latin typeface="+mn-lt"/>
              </a:defRPr>
            </a:lvl7pPr>
            <a:lvl8pPr>
              <a:spcAft>
                <a:spcPts val="1200"/>
              </a:spcAft>
              <a:defRPr sz="1200">
                <a:latin typeface="+mn-lt"/>
              </a:defRPr>
            </a:lvl8pPr>
            <a:lvl9pPr>
              <a:spcAft>
                <a:spcPts val="1200"/>
              </a:spcAft>
              <a:defRPr sz="1200"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1AFE0A7-2F66-D4DA-BD76-32D0296E5195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1F30017-7B94-B163-F393-59C8CAA229CE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500279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08B8A33-A560-179D-82DB-3D758F1E0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4" y="380072"/>
            <a:ext cx="10743293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3069417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250471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onnes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Une image contenant photo, sombre, lumière, grand&#10;&#10;Description générée automatiquement">
            <a:extLst>
              <a:ext uri="{FF2B5EF4-FFF2-40B4-BE49-F238E27FC236}">
                <a16:creationId xmlns:a16="http://schemas.microsoft.com/office/drawing/2014/main" id="{00DF9681-7768-254C-B962-8FB51777D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747541" cy="6858000"/>
          </a:xfrm>
          <a:prstGeom prst="rect">
            <a:avLst/>
          </a:prstGeom>
        </p:spPr>
      </p:pic>
      <p:grpSp>
        <p:nvGrpSpPr>
          <p:cNvPr id="18" name="Logo">
            <a:extLst>
              <a:ext uri="{FF2B5EF4-FFF2-40B4-BE49-F238E27FC236}">
                <a16:creationId xmlns:a16="http://schemas.microsoft.com/office/drawing/2014/main" id="{0FFDE514-3234-6949-A402-C5D8FFCD80B9}"/>
              </a:ext>
            </a:extLst>
          </p:cNvPr>
          <p:cNvGrpSpPr/>
          <p:nvPr userDrawn="1"/>
        </p:nvGrpSpPr>
        <p:grpSpPr>
          <a:xfrm>
            <a:off x="11063288" y="6099628"/>
            <a:ext cx="1128712" cy="889000"/>
            <a:chOff x="11063288" y="6099628"/>
            <a:chExt cx="1128712" cy="889000"/>
          </a:xfrm>
        </p:grpSpPr>
        <p:sp>
          <p:nvSpPr>
            <p:cNvPr id="19" name="AutoShape 13" descr="Forme libre 29">
              <a:extLst>
                <a:ext uri="{FF2B5EF4-FFF2-40B4-BE49-F238E27FC236}">
                  <a16:creationId xmlns:a16="http://schemas.microsoft.com/office/drawing/2014/main" id="{24706C56-A1C0-DF43-987A-CDCC0E6D3F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6099628"/>
              <a:ext cx="1128712" cy="889000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3829" y="0"/>
                  </a:moveTo>
                  <a:cubicBezTo>
                    <a:pt x="16693" y="0"/>
                    <a:pt x="19353" y="1106"/>
                    <a:pt x="21560" y="3001"/>
                  </a:cubicBezTo>
                  <a:lnTo>
                    <a:pt x="21600" y="3039"/>
                  </a:lnTo>
                  <a:lnTo>
                    <a:pt x="21600" y="21600"/>
                  </a:lnTo>
                  <a:lnTo>
                    <a:pt x="379" y="21600"/>
                  </a:lnTo>
                  <a:lnTo>
                    <a:pt x="281" y="21115"/>
                  </a:lnTo>
                  <a:cubicBezTo>
                    <a:pt x="97" y="19971"/>
                    <a:pt x="0" y="18787"/>
                    <a:pt x="0" y="17573"/>
                  </a:cubicBezTo>
                  <a:cubicBezTo>
                    <a:pt x="0" y="7868"/>
                    <a:pt x="6191" y="0"/>
                    <a:pt x="1382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204092" dist="29368" dir="13500000" algn="br" rotWithShape="0">
                <a:schemeClr val="accent5">
                  <a:lumMod val="50000"/>
                  <a:alpha val="40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sp>
          <p:nvSpPr>
            <p:cNvPr id="20" name="AutoShape 14" descr="Forme libre 30">
              <a:extLst>
                <a:ext uri="{FF2B5EF4-FFF2-40B4-BE49-F238E27FC236}">
                  <a16:creationId xmlns:a16="http://schemas.microsoft.com/office/drawing/2014/main" id="{643A88A7-3AC0-7248-8A99-C5297CDB2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0736" y="6160750"/>
              <a:ext cx="1111263" cy="827878"/>
            </a:xfrm>
            <a:custGeom>
              <a:avLst/>
              <a:gdLst>
                <a:gd name="T0" fmla="*/ 2147483646 w 21600"/>
                <a:gd name="T1" fmla="*/ 2147483646 h 21600"/>
                <a:gd name="T2" fmla="*/ 2147483646 w 21600"/>
                <a:gd name="T3" fmla="*/ 2147483646 h 21600"/>
                <a:gd name="T4" fmla="*/ 2147483646 w 21600"/>
                <a:gd name="T5" fmla="*/ 2147483646 h 21600"/>
                <a:gd name="T6" fmla="*/ 2147483646 w 21600"/>
                <a:gd name="T7" fmla="*/ 2147483646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4046" y="0"/>
                  </a:moveTo>
                  <a:cubicBezTo>
                    <a:pt x="16470" y="0"/>
                    <a:pt x="18751" y="825"/>
                    <a:pt x="20741" y="2278"/>
                  </a:cubicBezTo>
                  <a:lnTo>
                    <a:pt x="21600" y="2979"/>
                  </a:lnTo>
                  <a:lnTo>
                    <a:pt x="21600" y="21600"/>
                  </a:lnTo>
                  <a:lnTo>
                    <a:pt x="163" y="21600"/>
                  </a:lnTo>
                  <a:lnTo>
                    <a:pt x="73" y="20800"/>
                  </a:lnTo>
                  <a:cubicBezTo>
                    <a:pt x="25" y="20166"/>
                    <a:pt x="0" y="19522"/>
                    <a:pt x="0" y="18871"/>
                  </a:cubicBezTo>
                  <a:cubicBezTo>
                    <a:pt x="0" y="8449"/>
                    <a:pt x="6288" y="0"/>
                    <a:pt x="1404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45720" rIns="45720" anchor="ctr"/>
            <a:lstStyle/>
            <a:p>
              <a:endParaRPr lang="fr-FR"/>
            </a:p>
          </p:txBody>
        </p:sp>
        <p:pic>
          <p:nvPicPr>
            <p:cNvPr id="21" name="Google Shape;65;p13">
              <a:extLst>
                <a:ext uri="{FF2B5EF4-FFF2-40B4-BE49-F238E27FC236}">
                  <a16:creationId xmlns:a16="http://schemas.microsoft.com/office/drawing/2014/main" id="{8BE399BB-C546-AC4B-AEDF-92D8A175A0F5}"/>
                </a:ext>
              </a:extLst>
            </p:cNvPr>
            <p:cNvPicPr preferRelativeResize="0"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 r:link="rId4"/>
                </a:ext>
              </a:extLst>
            </a:blip>
            <a:srcRect/>
            <a:stretch>
              <a:fillRect/>
            </a:stretch>
          </p:blipFill>
          <p:spPr>
            <a:xfrm>
              <a:off x="11350414" y="6316622"/>
              <a:ext cx="722442" cy="5106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" name="Forme libre : forme 12">
            <a:extLst>
              <a:ext uri="{FF2B5EF4-FFF2-40B4-BE49-F238E27FC236}">
                <a16:creationId xmlns:a16="http://schemas.microsoft.com/office/drawing/2014/main" id="{A925156F-F1E5-7A4F-A619-56FCD2CE08CC}"/>
              </a:ext>
            </a:extLst>
          </p:cNvPr>
          <p:cNvSpPr/>
          <p:nvPr userDrawn="1"/>
        </p:nvSpPr>
        <p:spPr>
          <a:xfrm>
            <a:off x="-1" y="6479979"/>
            <a:ext cx="473076" cy="378021"/>
          </a:xfrm>
          <a:custGeom>
            <a:avLst/>
            <a:gdLst>
              <a:gd name="connsiteX0" fmla="*/ 0 w 643218"/>
              <a:gd name="connsiteY0" fmla="*/ 0 h 513976"/>
              <a:gd name="connsiteX1" fmla="*/ 386230 w 643218"/>
              <a:gd name="connsiteY1" fmla="*/ 0 h 513976"/>
              <a:gd name="connsiteX2" fmla="*/ 643218 w 643218"/>
              <a:gd name="connsiteY2" fmla="*/ 256988 h 513976"/>
              <a:gd name="connsiteX3" fmla="*/ 386230 w 643218"/>
              <a:gd name="connsiteY3" fmla="*/ 513976 h 513976"/>
              <a:gd name="connsiteX4" fmla="*/ 0 w 643218"/>
              <a:gd name="connsiteY4" fmla="*/ 513976 h 51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218" h="513976">
                <a:moveTo>
                  <a:pt x="0" y="0"/>
                </a:moveTo>
                <a:lnTo>
                  <a:pt x="386230" y="0"/>
                </a:lnTo>
                <a:cubicBezTo>
                  <a:pt x="528161" y="0"/>
                  <a:pt x="643218" y="115057"/>
                  <a:pt x="643218" y="256988"/>
                </a:cubicBezTo>
                <a:cubicBezTo>
                  <a:pt x="643218" y="398919"/>
                  <a:pt x="528161" y="513976"/>
                  <a:pt x="386230" y="513976"/>
                </a:cubicBezTo>
                <a:lnTo>
                  <a:pt x="0" y="51397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7351947-423C-B24A-B115-10D2BD69BA01}"/>
              </a:ext>
            </a:extLst>
          </p:cNvPr>
          <p:cNvSpPr/>
          <p:nvPr userDrawn="1"/>
        </p:nvSpPr>
        <p:spPr>
          <a:xfrm>
            <a:off x="2254102" y="6885384"/>
            <a:ext cx="13864856" cy="2573079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40000" y="540000"/>
            <a:ext cx="10847138" cy="1609434"/>
          </a:xfrm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40000" y="2160000"/>
            <a:ext cx="5181600" cy="4351338"/>
          </a:xfrm>
          <a:ln>
            <a:noFill/>
          </a:ln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2160000"/>
            <a:ext cx="5181600" cy="4351338"/>
          </a:xfrm>
        </p:spPr>
        <p:txBody>
          <a:bodyPr/>
          <a:lstStyle>
            <a:lvl1pPr marL="0" indent="0">
              <a:buClr>
                <a:schemeClr val="accent4"/>
              </a:buClr>
              <a:buFontTx/>
              <a:buNone/>
              <a:defRPr/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547687" y="7656810"/>
            <a:ext cx="838200" cy="187027"/>
          </a:xfrm>
        </p:spPr>
        <p:txBody>
          <a:bodyPr/>
          <a:lstStyle/>
          <a:p>
            <a:fld id="{8198F7CA-F303-8347-879F-B1840B5E05B2}" type="datetime1">
              <a:rPr lang="fr-FR" smtClean="0"/>
              <a:t>20/01/202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1500187" y="7656810"/>
            <a:ext cx="8420100" cy="187027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34504" y="6588000"/>
            <a:ext cx="838200" cy="187027"/>
          </a:xfrm>
        </p:spPr>
        <p:txBody>
          <a:bodyPr/>
          <a:lstStyle/>
          <a:p>
            <a:fld id="{C814DB2B-3EFD-4766-A6C9-C9A5E84D2897}" type="slidenum">
              <a:rPr lang="fr-FR" smtClean="0"/>
              <a:t>‹N°›</a:t>
            </a:fld>
            <a:endParaRPr lang="fr-FR"/>
          </a:p>
        </p:txBody>
      </p:sp>
      <p:sp>
        <p:nvSpPr>
          <p:cNvPr id="23" name="Espace réservé du texte 28">
            <a:extLst>
              <a:ext uri="{FF2B5EF4-FFF2-40B4-BE49-F238E27FC236}">
                <a16:creationId xmlns:a16="http://schemas.microsoft.com/office/drawing/2014/main" id="{A4BC9205-4C34-DA4B-BFFE-1AADB0EA0A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180000"/>
            <a:ext cx="1858643" cy="331304"/>
          </a:xfrm>
          <a:solidFill>
            <a:schemeClr val="accent4">
              <a:lumMod val="40000"/>
              <a:lumOff val="60000"/>
            </a:schemeClr>
          </a:solidFill>
        </p:spPr>
        <p:txBody>
          <a:bodyPr lIns="180000" tIns="0" rIns="180000" anchor="ctr" anchorCtr="0">
            <a:normAutofit/>
          </a:bodyPr>
          <a:lstStyle>
            <a:lvl1pPr marL="0" indent="0" algn="l">
              <a:buFontTx/>
              <a:buNone/>
              <a:defRPr sz="1000" b="0" i="0" cap="all" spc="200" normalizeH="0" baseline="0">
                <a:solidFill>
                  <a:schemeClr val="bg1"/>
                </a:solidFill>
                <a:latin typeface="Pole Emploi PRO Light" panose="02000303040000020004" pitchFamily="2" charset="77"/>
              </a:defRPr>
            </a:lvl1pPr>
            <a:lvl2pPr marL="177800" indent="0">
              <a:buFontTx/>
              <a:buNone/>
              <a:defRPr>
                <a:solidFill>
                  <a:schemeClr val="bg1"/>
                </a:solidFill>
              </a:defRPr>
            </a:lvl2pPr>
            <a:lvl3pPr marL="357187" indent="0">
              <a:buFontTx/>
              <a:buNone/>
              <a:defRPr>
                <a:solidFill>
                  <a:schemeClr val="bg1"/>
                </a:solidFill>
              </a:defRPr>
            </a:lvl3pPr>
            <a:lvl4pPr marL="536575" indent="0">
              <a:buFontTx/>
              <a:buNone/>
              <a:defRPr>
                <a:solidFill>
                  <a:schemeClr val="bg1"/>
                </a:solidFill>
              </a:defRPr>
            </a:lvl4pPr>
            <a:lvl5pPr marL="71437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8772554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graphiq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EF87FC1-1FD0-043B-6487-9A3FBDBF6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3497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F87FC1-1FD0-043B-6487-9A3FBDBF6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174833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20B8556-D223-3D8F-787C-2571FE181C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1279232"/>
            <a:ext cx="4697186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EF1A2DC-F24C-C692-E909-64EAACD1B2E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2768599"/>
            <a:ext cx="4695825" cy="2513013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FEB89C-3196-997C-32D8-873CDD991C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49" y="1589088"/>
            <a:ext cx="2448599" cy="712787"/>
          </a:xfrm>
        </p:spPr>
        <p:txBody>
          <a:bodyPr anchor="ctr"/>
          <a:lstStyle>
            <a:lvl1pPr algn="r" rtl="0">
              <a:defRPr sz="1200">
                <a:solidFill>
                  <a:schemeClr val="tx1"/>
                </a:solidFill>
              </a:defRPr>
            </a:lvl1pPr>
            <a:lvl2pPr algn="r">
              <a:defRPr lang="fr-FR" sz="1200" kern="1200" spc="-2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r">
              <a:defRPr sz="1200">
                <a:solidFill>
                  <a:schemeClr val="tx1"/>
                </a:solidFill>
              </a:defRPr>
            </a:lvl3pPr>
            <a:lvl4pPr algn="r">
              <a:defRPr sz="1200">
                <a:solidFill>
                  <a:schemeClr val="tx1"/>
                </a:solidFill>
              </a:defRPr>
            </a:lvl4pPr>
            <a:lvl5pPr algn="r">
              <a:defRPr sz="1200">
                <a:solidFill>
                  <a:schemeClr val="tx1"/>
                </a:solidFill>
              </a:defRPr>
            </a:lvl5pPr>
            <a:lvl6pPr algn="r">
              <a:defRPr sz="1200">
                <a:solidFill>
                  <a:schemeClr val="tx1"/>
                </a:solidFill>
              </a:defRPr>
            </a:lvl6pPr>
            <a:lvl7pPr algn="r">
              <a:defRPr sz="1200">
                <a:solidFill>
                  <a:schemeClr val="tx1"/>
                </a:solidFill>
              </a:defRPr>
            </a:lvl7pPr>
            <a:lvl8pPr algn="r">
              <a:defRPr sz="1200">
                <a:solidFill>
                  <a:schemeClr val="tx1"/>
                </a:solidFill>
              </a:defRPr>
            </a:lvl8pPr>
            <a:lvl9pPr algn="r"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noProof="0" dirty="0"/>
              <a:t>Légende</a:t>
            </a:r>
          </a:p>
        </p:txBody>
      </p:sp>
      <p:sp>
        <p:nvSpPr>
          <p:cNvPr id="17" name="Chart Placeholder 16">
            <a:extLst>
              <a:ext uri="{FF2B5EF4-FFF2-40B4-BE49-F238E27FC236}">
                <a16:creationId xmlns:a16="http://schemas.microsoft.com/office/drawing/2014/main" id="{0CC9EDCF-AD58-FDCC-321C-17C24484F42C}"/>
              </a:ext>
            </a:extLst>
          </p:cNvPr>
          <p:cNvSpPr>
            <a:spLocks noGrp="1"/>
          </p:cNvSpPr>
          <p:nvPr>
            <p:ph type="chart" sz="quarter" idx="20" hasCustomPrompt="1"/>
          </p:nvPr>
        </p:nvSpPr>
        <p:spPr>
          <a:xfrm>
            <a:off x="6203949" y="2501900"/>
            <a:ext cx="5437188" cy="277971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7DD9531-BEB9-A091-6FE5-BE1B6AD609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16717" y="1503362"/>
            <a:ext cx="0" cy="180000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D33963E-9E4F-B88A-245F-9EDDDDE104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99538" y="1503363"/>
            <a:ext cx="2294611" cy="1316038"/>
          </a:xfrm>
        </p:spPr>
        <p:txBody>
          <a:bodyPr anchor="t"/>
          <a:lstStyle>
            <a:lvl1pPr>
              <a:defRPr sz="4800">
                <a:latin typeface="+mn-lt"/>
              </a:defRPr>
            </a:lvl1pPr>
            <a:lvl2pPr>
              <a:defRPr sz="1200">
                <a:solidFill>
                  <a:schemeClr val="tx1"/>
                </a:solidFill>
                <a:latin typeface="+mn-lt"/>
              </a:defRPr>
            </a:lvl2pPr>
            <a:lvl3pPr>
              <a:defRPr sz="1200">
                <a:solidFill>
                  <a:schemeClr val="tx1"/>
                </a:solidFill>
                <a:latin typeface="+mn-lt"/>
              </a:defRPr>
            </a:lvl3pPr>
            <a:lvl4pPr>
              <a:defRPr sz="1200">
                <a:solidFill>
                  <a:schemeClr val="tx1"/>
                </a:solidFill>
                <a:latin typeface="+mn-lt"/>
              </a:defRPr>
            </a:lvl4pPr>
            <a:lvl5pPr>
              <a:defRPr sz="1200">
                <a:solidFill>
                  <a:schemeClr val="tx1"/>
                </a:solidFill>
                <a:latin typeface="+mn-lt"/>
              </a:defRPr>
            </a:lvl5pPr>
            <a:lvl6pPr>
              <a:defRPr sz="1200">
                <a:solidFill>
                  <a:schemeClr val="tx1"/>
                </a:solidFill>
                <a:latin typeface="+mn-lt"/>
              </a:defRPr>
            </a:lvl6pPr>
            <a:lvl7pPr>
              <a:defRPr sz="1200">
                <a:solidFill>
                  <a:schemeClr val="tx1"/>
                </a:solidFill>
                <a:latin typeface="+mn-lt"/>
              </a:defRPr>
            </a:lvl7pPr>
            <a:lvl8pPr>
              <a:defRPr sz="1200">
                <a:solidFill>
                  <a:schemeClr val="tx1"/>
                </a:solidFill>
                <a:latin typeface="+mn-lt"/>
              </a:defRPr>
            </a:lvl8pPr>
            <a:lvl9pPr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00</a:t>
            </a:r>
          </a:p>
          <a:p>
            <a:pPr lvl="1"/>
            <a:r>
              <a:rPr lang="fr-FR"/>
              <a:t>Second level</a:t>
            </a:r>
            <a:endParaRPr lang="fr-FR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EB5FEEF-61D4-E391-E8FC-87AA0A176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5ED2E36-89E2-288D-92E1-24C48CD5C35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45977B1C-54CB-D689-0F46-7DEC1CA5B5A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80432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0BC366C-44BA-C9B6-5004-F41F5BF235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128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BC366C-44BA-C9B6-5004-F41F5BF235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33D1780-CF14-3479-B4FE-FE6AC32544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fr-FR" dirty="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CB183AF7-879A-2AFA-21DC-289DBC6895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380072"/>
            <a:ext cx="4697186" cy="1325563"/>
          </a:xfrm>
        </p:spPr>
        <p:txBody>
          <a:bodyPr vert="horz" anchor="ctr"/>
          <a:lstStyle>
            <a:lvl1pPr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D706AA7-5A5B-17DB-0FE9-28DF9E7E86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lang="en-US" sz="2200" kern="1200" spc="-2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3875C6-8834-F3EC-0C6F-03493468ACB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203950" y="0"/>
            <a:ext cx="5988048" cy="5816599"/>
          </a:xfrm>
          <a:custGeom>
            <a:avLst/>
            <a:gdLst>
              <a:gd name="connsiteX0" fmla="*/ 977798 w 5988048"/>
              <a:gd name="connsiteY0" fmla="*/ 0 h 5816599"/>
              <a:gd name="connsiteX1" fmla="*/ 5988048 w 5988048"/>
              <a:gd name="connsiteY1" fmla="*/ 0 h 5816599"/>
              <a:gd name="connsiteX2" fmla="*/ 5988048 w 5988048"/>
              <a:gd name="connsiteY2" fmla="*/ 5317928 h 5816599"/>
              <a:gd name="connsiteX3" fmla="*/ 5954698 w 5988048"/>
              <a:gd name="connsiteY3" fmla="*/ 5349988 h 5816599"/>
              <a:gd name="connsiteX4" fmla="*/ 5129858 w 5988048"/>
              <a:gd name="connsiteY4" fmla="*/ 5725478 h 5816599"/>
              <a:gd name="connsiteX5" fmla="*/ 4132887 w 5988048"/>
              <a:gd name="connsiteY5" fmla="*/ 5810952 h 5816599"/>
              <a:gd name="connsiteX6" fmla="*/ 3800853 w 5988048"/>
              <a:gd name="connsiteY6" fmla="*/ 5816599 h 5816599"/>
              <a:gd name="connsiteX7" fmla="*/ 3800789 w 5988048"/>
              <a:gd name="connsiteY7" fmla="*/ 5816599 h 5816599"/>
              <a:gd name="connsiteX8" fmla="*/ 3468755 w 5988048"/>
              <a:gd name="connsiteY8" fmla="*/ 5811044 h 5816599"/>
              <a:gd name="connsiteX9" fmla="*/ 2471784 w 5988048"/>
              <a:gd name="connsiteY9" fmla="*/ 5725478 h 5816599"/>
              <a:gd name="connsiteX10" fmla="*/ 1435926 w 5988048"/>
              <a:gd name="connsiteY10" fmla="*/ 5126243 h 5816599"/>
              <a:gd name="connsiteX11" fmla="*/ 116628 w 5988048"/>
              <a:gd name="connsiteY11" fmla="*/ 2836109 h 5816599"/>
              <a:gd name="connsiteX12" fmla="*/ 116628 w 5988048"/>
              <a:gd name="connsiteY12" fmla="*/ 1641437 h 5816599"/>
              <a:gd name="connsiteX13" fmla="*/ 784436 w 5988048"/>
              <a:gd name="connsiteY13" fmla="*/ 304505 h 5816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988048" h="5816599">
                <a:moveTo>
                  <a:pt x="977798" y="0"/>
                </a:moveTo>
                <a:lnTo>
                  <a:pt x="5988048" y="0"/>
                </a:lnTo>
                <a:lnTo>
                  <a:pt x="5988048" y="5317928"/>
                </a:lnTo>
                <a:lnTo>
                  <a:pt x="5954698" y="5349988"/>
                </a:lnTo>
                <a:cubicBezTo>
                  <a:pt x="5723856" y="5551247"/>
                  <a:pt x="5437398" y="5682887"/>
                  <a:pt x="5129858" y="5725478"/>
                </a:cubicBezTo>
                <a:cubicBezTo>
                  <a:pt x="4797928" y="5771286"/>
                  <a:pt x="4465164" y="5799638"/>
                  <a:pt x="4132887" y="5810952"/>
                </a:cubicBezTo>
                <a:lnTo>
                  <a:pt x="3800853" y="5816599"/>
                </a:lnTo>
                <a:lnTo>
                  <a:pt x="3800789" y="5816599"/>
                </a:lnTo>
                <a:lnTo>
                  <a:pt x="3468755" y="5811044"/>
                </a:lnTo>
                <a:cubicBezTo>
                  <a:pt x="3136478" y="5799793"/>
                  <a:pt x="2803713" y="5771410"/>
                  <a:pt x="2471784" y="5725478"/>
                </a:cubicBezTo>
                <a:cubicBezTo>
                  <a:pt x="2061897" y="5668690"/>
                  <a:pt x="1689320" y="5453593"/>
                  <a:pt x="1435926" y="5126243"/>
                </a:cubicBezTo>
                <a:cubicBezTo>
                  <a:pt x="898269" y="4431593"/>
                  <a:pt x="452231" y="3661997"/>
                  <a:pt x="116628" y="2836109"/>
                </a:cubicBezTo>
                <a:cubicBezTo>
                  <a:pt x="-38876" y="2453292"/>
                  <a:pt x="-38876" y="2024254"/>
                  <a:pt x="116628" y="1641437"/>
                </a:cubicBezTo>
                <a:cubicBezTo>
                  <a:pt x="305404" y="1176875"/>
                  <a:pt x="529124" y="730125"/>
                  <a:pt x="784436" y="30450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>
            <a:noAutofit/>
          </a:bodyPr>
          <a:lstStyle>
            <a:lvl1pPr algn="ctr">
              <a:defRPr lang="fr-FR" sz="18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fr-FR" dirty="0"/>
              <a:t>Imag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91FA749-0AB6-BAA9-E7E8-FE1C86D77D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ABEACFE-831D-FA05-F069-17FCDC314FCC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7D0D3047-C507-2E11-B5C0-D859B698C89C}"/>
              </a:ext>
            </a:extLst>
          </p:cNvPr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706892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enc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72603BC-AA75-68C3-FD43-1A7077A4D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366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2603BC-AA75-68C3-FD43-1A7077A4D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le 29">
            <a:extLst>
              <a:ext uri="{FF2B5EF4-FFF2-40B4-BE49-F238E27FC236}">
                <a16:creationId xmlns:a16="http://schemas.microsoft.com/office/drawing/2014/main" id="{34EF12B4-AA43-4053-A66C-946FE68344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7256" y="574675"/>
            <a:ext cx="5079208" cy="1463935"/>
          </a:xfrm>
        </p:spPr>
        <p:txBody>
          <a:bodyPr vert="horz" anchor="t"/>
          <a:lstStyle>
            <a:lvl1pPr>
              <a:defRPr lang="fr-FR" sz="4800" dirty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title</a:t>
            </a:r>
            <a:endParaRPr lang="fr-FR" dirty="0"/>
          </a:p>
        </p:txBody>
      </p:sp>
      <p:sp>
        <p:nvSpPr>
          <p:cNvPr id="2" name="Text Placeholder 14">
            <a:extLst>
              <a:ext uri="{FF2B5EF4-FFF2-40B4-BE49-F238E27FC236}">
                <a16:creationId xmlns:a16="http://schemas.microsoft.com/office/drawing/2014/main" id="{9DF51427-88DB-D49F-5F03-7036FB8CA38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950" y="574675"/>
            <a:ext cx="5437188" cy="1463935"/>
          </a:xfrm>
        </p:spPr>
        <p:txBody>
          <a:bodyPr anchor="t"/>
          <a:lstStyle>
            <a:lvl1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5pPr>
            <a:lvl6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6pPr>
            <a:lvl7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7pPr>
            <a:lvl8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8pPr>
            <a:lvl9pPr>
              <a:lnSpc>
                <a:spcPct val="90000"/>
              </a:lnSpc>
              <a:spcAft>
                <a:spcPts val="0"/>
              </a:spcAft>
              <a:defRPr sz="1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fr-FR"/>
              <a:t>Click to edit Master text styles</a:t>
            </a:r>
            <a:endParaRPr lang="fr-FR" dirty="0"/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529BF562-98DD-315E-A97B-ECF8465E73E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9479" y="2420079"/>
            <a:ext cx="3292298" cy="32957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C28AA431-B134-94DB-ED63-4881847241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34489" y="2767024"/>
            <a:ext cx="609980" cy="609980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03E6A5B2-F702-AF15-CE11-C2A18E95FB69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82692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381EAFF9-5B77-0ACC-8C35-C4C8E87F1C7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14951" y="2420079"/>
            <a:ext cx="3292298" cy="32957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EF606C3A-EBE4-E88B-EF63-58F588497B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309961" y="2767024"/>
            <a:ext cx="609980" cy="609980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43026DA-1F0C-57E8-84F9-017BDC7BD0ED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8164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B27D59E6-1616-CEE7-69D6-36B19579669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91216" y="2420079"/>
            <a:ext cx="3292298" cy="32957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0" tIns="216000" rIns="180000" anchor="t"/>
          <a:lstStyle>
            <a:lvl1pPr>
              <a:lnSpc>
                <a:spcPct val="100000"/>
              </a:lnSpc>
              <a:spcAft>
                <a:spcPts val="2400"/>
              </a:spcAft>
              <a:defRPr sz="1600" b="1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200"/>
              </a:spcAft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2" name="Text Placeholder 14">
            <a:extLst>
              <a:ext uri="{FF2B5EF4-FFF2-40B4-BE49-F238E27FC236}">
                <a16:creationId xmlns:a16="http://schemas.microsoft.com/office/drawing/2014/main" id="{6AE453FD-E568-AEAA-B810-6ADE4D2B4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085433" y="2767024"/>
            <a:ext cx="609980" cy="609980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3" name="Picture Placeholder 12">
            <a:extLst>
              <a:ext uri="{FF2B5EF4-FFF2-40B4-BE49-F238E27FC236}">
                <a16:creationId xmlns:a16="http://schemas.microsoft.com/office/drawing/2014/main" id="{D98AD34D-61AD-643B-EAA3-BFF5792F263B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8133636" y="2815228"/>
            <a:ext cx="513574" cy="513572"/>
          </a:xfrm>
          <a:prstGeom prst="ellipse">
            <a:avLst/>
          </a:prstGeo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dirty="0"/>
              <a:t>Picto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A3E8C4-D07E-CB27-3FE6-CDFBBE964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30332" y="6180224"/>
            <a:ext cx="896649" cy="444679"/>
          </a:xfrm>
          <a:prstGeom prst="rect">
            <a:avLst/>
          </a:prstGeom>
        </p:spPr>
      </p:pic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6AF16EDB-3137-6B9E-C9C2-56784BFC169C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5B4CD95-AEDB-8CAD-CB17-67579BF4BD8E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31430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2 encar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2BE7F97-1A60-7C03-66B1-404D8DECA9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670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44" imgH="544" progId="TCLayout.ActiveDocument.1">
                  <p:embed/>
                </p:oleObj>
              </mc:Choice>
              <mc:Fallback>
                <p:oleObj name="Diapositive think-cell" r:id="rId3" imgW="544" imgH="5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E7F97-1A60-7C03-66B1-404D8DECA9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08B8A33-A560-179D-82DB-3D758F1E03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849178"/>
            <a:ext cx="387350" cy="387350"/>
          </a:xfrm>
          <a:custGeom>
            <a:avLst/>
            <a:gdLst>
              <a:gd name="connsiteX0" fmla="*/ 364332 w 728664"/>
              <a:gd name="connsiteY0" fmla="*/ 0 h 728664"/>
              <a:gd name="connsiteX1" fmla="*/ 728664 w 728664"/>
              <a:gd name="connsiteY1" fmla="*/ 364332 h 728664"/>
              <a:gd name="connsiteX2" fmla="*/ 364332 w 728664"/>
              <a:gd name="connsiteY2" fmla="*/ 728664 h 728664"/>
              <a:gd name="connsiteX3" fmla="*/ 0 w 728664"/>
              <a:gd name="connsiteY3" fmla="*/ 364332 h 728664"/>
              <a:gd name="connsiteX4" fmla="*/ 364332 w 728664"/>
              <a:gd name="connsiteY4" fmla="*/ 0 h 728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664" h="728664">
                <a:moveTo>
                  <a:pt x="364332" y="0"/>
                </a:moveTo>
                <a:cubicBezTo>
                  <a:pt x="565547" y="0"/>
                  <a:pt x="728664" y="163117"/>
                  <a:pt x="728664" y="364332"/>
                </a:cubicBezTo>
                <a:cubicBezTo>
                  <a:pt x="728664" y="565547"/>
                  <a:pt x="565547" y="728664"/>
                  <a:pt x="364332" y="728664"/>
                </a:cubicBezTo>
                <a:cubicBezTo>
                  <a:pt x="163117" y="728664"/>
                  <a:pt x="0" y="565547"/>
                  <a:pt x="0" y="364332"/>
                </a:cubicBezTo>
                <a:cubicBezTo>
                  <a:pt x="0" y="163117"/>
                  <a:pt x="163117" y="0"/>
                  <a:pt x="364332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2">
                    <a:alpha val="0"/>
                  </a:schemeClr>
                </a:solidFill>
              </a:defRPr>
            </a:lvl1pPr>
            <a:lvl5pPr>
              <a:defRPr/>
            </a:lvl5pPr>
          </a:lstStyle>
          <a:p>
            <a:pPr lvl="0"/>
            <a:r>
              <a:rPr lang="fr-FR" dirty="0"/>
              <a:t>'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3D6826C9-BB7A-03FC-5BE5-E8FAA2C1B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7845" y="380072"/>
            <a:ext cx="4697186" cy="1325563"/>
          </a:xfrm>
        </p:spPr>
        <p:txBody>
          <a:bodyPr vert="horz" anchor="ctr"/>
          <a:lstStyle>
            <a:lvl1pPr marL="0" indent="0">
              <a:buFont typeface="Arial" panose="020B0604020202020204" pitchFamily="34" charset="0"/>
              <a:buNone/>
              <a:defRPr lang="fr-FR" sz="4800" kern="1200" spc="-2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685800" lvl="0" indent="-685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fr-FR"/>
              <a:t>Click to edit</a:t>
            </a:r>
            <a:endParaRPr lang="fr-FR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2B8E6E82-8A6B-2C99-8BD3-F8C245E081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8525" y="1869439"/>
            <a:ext cx="4695825" cy="3947159"/>
          </a:xfrm>
        </p:spPr>
        <p:txBody>
          <a:bodyPr/>
          <a:lstStyle>
            <a:lvl1pPr>
              <a:spcAft>
                <a:spcPts val="2400"/>
              </a:spcAft>
              <a:defRPr sz="2200"/>
            </a:lvl1pPr>
            <a:lvl2pPr>
              <a:spcAft>
                <a:spcPts val="2400"/>
              </a:spcAft>
              <a:defRPr sz="2200"/>
            </a:lvl2pPr>
            <a:lvl3pPr>
              <a:spcAft>
                <a:spcPts val="1200"/>
              </a:spcAft>
              <a:defRPr sz="1800"/>
            </a:lvl3pPr>
            <a:lvl4pPr>
              <a:spcAft>
                <a:spcPts val="1200"/>
              </a:spcAft>
              <a:defRPr sz="1600"/>
            </a:lvl4pPr>
            <a:lvl5pPr>
              <a:spcAft>
                <a:spcPts val="1200"/>
              </a:spcAft>
              <a:defRPr sz="1600"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  <a:endParaRPr lang="fr-FR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0B0EF252-B930-24AC-7A2E-91A1F16015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112000" y="0"/>
            <a:ext cx="5075326" cy="6858000"/>
          </a:xfrm>
          <a:custGeom>
            <a:avLst/>
            <a:gdLst>
              <a:gd name="connsiteX0" fmla="*/ 378139 w 5075326"/>
              <a:gd name="connsiteY0" fmla="*/ 0 h 6858000"/>
              <a:gd name="connsiteX1" fmla="*/ 5075326 w 5075326"/>
              <a:gd name="connsiteY1" fmla="*/ 0 h 6858000"/>
              <a:gd name="connsiteX2" fmla="*/ 5075326 w 5075326"/>
              <a:gd name="connsiteY2" fmla="*/ 6858000 h 6858000"/>
              <a:gd name="connsiteX3" fmla="*/ 365542 w 5075326"/>
              <a:gd name="connsiteY3" fmla="*/ 6858000 h 6858000"/>
              <a:gd name="connsiteX4" fmla="*/ 363417 w 5075326"/>
              <a:gd name="connsiteY4" fmla="*/ 6852613 h 6858000"/>
              <a:gd name="connsiteX5" fmla="*/ 168536 w 5075326"/>
              <a:gd name="connsiteY5" fmla="*/ 5986189 h 6858000"/>
              <a:gd name="connsiteX6" fmla="*/ 331966 w 5075326"/>
              <a:gd name="connsiteY6" fmla="*/ 14678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75326" h="6858000">
                <a:moveTo>
                  <a:pt x="378139" y="0"/>
                </a:moveTo>
                <a:lnTo>
                  <a:pt x="5075326" y="0"/>
                </a:lnTo>
                <a:lnTo>
                  <a:pt x="5075326" y="6858000"/>
                </a:lnTo>
                <a:lnTo>
                  <a:pt x="365542" y="6858000"/>
                </a:lnTo>
                <a:lnTo>
                  <a:pt x="363417" y="6852613"/>
                </a:lnTo>
                <a:cubicBezTo>
                  <a:pt x="265540" y="6572611"/>
                  <a:pt x="208132" y="6274676"/>
                  <a:pt x="168536" y="5986189"/>
                </a:cubicBezTo>
                <a:cubicBezTo>
                  <a:pt x="-34336" y="4368644"/>
                  <a:pt x="-130792" y="1802044"/>
                  <a:pt x="331966" y="14678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>
            <a:noFill/>
            <a:prstDash val="solid"/>
            <a:miter/>
          </a:ln>
        </p:spPr>
        <p:txBody>
          <a:bodyPr lIns="540000" tIns="360000" rIns="288000" rtlCol="0" anchor="t"/>
          <a:lstStyle/>
          <a:p>
            <a:pPr>
              <a:spcAft>
                <a:spcPts val="2400"/>
              </a:spcAft>
            </a:pPr>
            <a:endParaRPr lang="fr-FR" sz="1200" spc="-30" dirty="0">
              <a:solidFill>
                <a:schemeClr val="bg2"/>
              </a:solidFill>
            </a:endParaRP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D2B7FD5C-6687-6D69-BD19-BCB5FB5DB07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99276" y="574674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0AC6F338-F800-EA0B-E6A5-F584D4AA81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769152" y="1289656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31" name="Picture Placeholder 12">
            <a:extLst>
              <a:ext uri="{FF2B5EF4-FFF2-40B4-BE49-F238E27FC236}">
                <a16:creationId xmlns:a16="http://schemas.microsoft.com/office/drawing/2014/main" id="{C3F83AF8-FFF7-1E77-E820-DB1A59E6AD0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837132" y="1357637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Picto.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A92E29AB-80FC-8D0E-7245-540A9181F81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99276" y="3526388"/>
            <a:ext cx="5411788" cy="2290211"/>
          </a:xfrm>
          <a:prstGeom prst="roundRect">
            <a:avLst/>
          </a:prstGeom>
          <a:solidFill>
            <a:schemeClr val="accent1"/>
          </a:solidFill>
        </p:spPr>
        <p:txBody>
          <a:bodyPr lIns="540000" tIns="0" rIns="288000" anchor="ctr"/>
          <a:lstStyle>
            <a:lvl1pPr>
              <a:lnSpc>
                <a:spcPct val="100000"/>
              </a:lnSpc>
              <a:spcAft>
                <a:spcPts val="1200"/>
              </a:spcAft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5pPr>
            <a:lvl6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6pPr>
            <a:lvl7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</a:p>
          <a:p>
            <a:pPr lvl="6"/>
            <a:r>
              <a:rPr lang="fr-FR"/>
              <a:t>7</a:t>
            </a:r>
          </a:p>
          <a:p>
            <a:pPr lvl="7"/>
            <a:r>
              <a:rPr lang="fr-FR"/>
              <a:t>8</a:t>
            </a:r>
          </a:p>
          <a:p>
            <a:pPr lvl="8"/>
            <a:r>
              <a:rPr lang="fr-FR"/>
              <a:t>9</a:t>
            </a:r>
            <a:endParaRPr lang="fr-FR" dirty="0"/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8BC4A9FB-B1CE-760D-5D8E-2BFE9EDF8A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69152" y="4241369"/>
            <a:ext cx="860248" cy="8602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>
                    <a:alpha val="0"/>
                  </a:schemeClr>
                </a:solidFill>
                <a:latin typeface="+mj-lt"/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2pPr>
            <a:lvl3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3pPr>
            <a:lvl4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4pPr>
            <a:lvl5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5pPr>
            <a:lvl6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6pPr>
            <a:lvl7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7pPr>
            <a:lvl8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8pPr>
            <a:lvl9pPr algn="ctr">
              <a:lnSpc>
                <a:spcPct val="100000"/>
              </a:lnSpc>
              <a:spcAft>
                <a:spcPts val="0"/>
              </a:spcAft>
              <a:defRPr sz="3800">
                <a:solidFill>
                  <a:schemeClr val="accent3"/>
                </a:solidFill>
                <a:latin typeface="+mj-lt"/>
              </a:defRPr>
            </a:lvl9pPr>
          </a:lstStyle>
          <a:p>
            <a:pPr lvl="0"/>
            <a:endParaRPr lang="fr-FR" dirty="0"/>
          </a:p>
        </p:txBody>
      </p:sp>
      <p:sp>
        <p:nvSpPr>
          <p:cNvPr id="41" name="Picture Placeholder 12">
            <a:extLst>
              <a:ext uri="{FF2B5EF4-FFF2-40B4-BE49-F238E27FC236}">
                <a16:creationId xmlns:a16="http://schemas.microsoft.com/office/drawing/2014/main" id="{3CA883B6-3D31-179E-643B-119B00E3319F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837132" y="4309350"/>
            <a:ext cx="724288" cy="724286"/>
          </a:xfrm>
          <a:prstGeom prst="ellipse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fr-FR" dirty="0"/>
              <a:t>Picto.</a:t>
            </a:r>
          </a:p>
        </p:txBody>
      </p:sp>
      <p:pic>
        <p:nvPicPr>
          <p:cNvPr id="11" name="Graphic 1">
            <a:extLst>
              <a:ext uri="{FF2B5EF4-FFF2-40B4-BE49-F238E27FC236}">
                <a16:creationId xmlns:a16="http://schemas.microsoft.com/office/drawing/2014/main" id="{15397B0B-E846-94C5-F302-9ED99B344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25658" y="6180224"/>
            <a:ext cx="896649" cy="444679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D33E022-E7E4-2D3E-35BB-31FD45FC9FC4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/>
        <p:txBody>
          <a:bodyPr/>
          <a:lstStyle/>
          <a:p>
            <a:r>
              <a:rPr lang="fr-FR" dirty="0"/>
              <a:t>Nom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380D910-4AA8-D7EC-6BC3-D263310B601E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09936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16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30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3F107A-2A9C-D9B7-DCAD-189759297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80687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9" imgW="544" imgH="544" progId="TCLayout.ActiveDocument.1">
                  <p:embed/>
                </p:oleObj>
              </mc:Choice>
              <mc:Fallback>
                <p:oleObj name="Diapositive think-cell" r:id="rId19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F107A-2A9C-D9B7-DCAD-189759297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796DBD-F9A1-8027-412C-BA6D866A9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D6D1D2-B32E-9CF8-A816-C55391579F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  <a:endParaRPr lang="fr-FR" dirty="0"/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ADACA-51B2-5A20-1019-59DADD8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8460" y="6311001"/>
            <a:ext cx="5400000" cy="2204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spc="-2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Nom de la présent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F13631D-F548-5957-3D27-3E2DF80F0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36577"/>
            <a:ext cx="7200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lang="en-GB" sz="1100" b="0" spc="-20" smtClean="0">
                <a:solidFill>
                  <a:schemeClr val="tx2"/>
                </a:solidFill>
                <a:latin typeface="+mj-lt"/>
              </a:defRPr>
            </a:lvl1pPr>
          </a:lstStyle>
          <a:p>
            <a:fld id="{22A8F993-E9C6-4879-8876-5511108B5C62}" type="slidenum">
              <a:rPr lang="fr-FR" smtClean="0"/>
              <a:pPr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14866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65" r:id="rId8"/>
    <p:sldLayoutId id="2147483666" r:id="rId9"/>
    <p:sldLayoutId id="2147483669" r:id="rId10"/>
    <p:sldLayoutId id="2147483668" r:id="rId11"/>
    <p:sldLayoutId id="2147483671" r:id="rId12"/>
    <p:sldLayoutId id="2147483670" r:id="rId13"/>
    <p:sldLayoutId id="2147483691" r:id="rId14"/>
    <p:sldLayoutId id="2147483692" r:id="rId15"/>
    <p:sldLayoutId id="2147483693" r:id="rId16"/>
  </p:sldLayoutIdLst>
  <p:hf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Font typeface="Arial" panose="020B0604020202020204" pitchFamily="34" charset="0"/>
        <a:buNone/>
        <a:defRPr sz="4800" b="1" kern="1200" spc="-2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 spc="-2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 spc="-2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00FF00"/>
          </p15:clr>
        </p15:guide>
        <p15:guide id="2" orient="horz" pos="362" userDrawn="1">
          <p15:clr>
            <a:srgbClr val="00FF00"/>
          </p15:clr>
        </p15:guide>
        <p15:guide id="3" userDrawn="1">
          <p15:clr>
            <a:srgbClr val="00FF00"/>
          </p15:clr>
        </p15:guide>
        <p15:guide id="4" pos="362" userDrawn="1">
          <p15:clr>
            <a:srgbClr val="00FF00"/>
          </p15:clr>
        </p15:guide>
        <p15:guide id="5" orient="horz" pos="3957" userDrawn="1">
          <p15:clr>
            <a:srgbClr val="00FF00"/>
          </p15:clr>
        </p15:guide>
        <p15:guide id="6" orient="horz" pos="4320" userDrawn="1">
          <p15:clr>
            <a:srgbClr val="00FF00"/>
          </p15:clr>
        </p15:guide>
        <p15:guide id="7" pos="7333" userDrawn="1">
          <p15:clr>
            <a:srgbClr val="00FF00"/>
          </p15:clr>
        </p15:guide>
        <p15:guide id="8" pos="7680" userDrawn="1">
          <p15:clr>
            <a:srgbClr val="00FF00"/>
          </p15:clr>
        </p15:guide>
        <p15:guide id="9" orient="horz" pos="2091" userDrawn="1">
          <p15:clr>
            <a:srgbClr val="00FF00"/>
          </p15:clr>
        </p15:guide>
        <p15:guide id="10" orient="horz" pos="2228" userDrawn="1">
          <p15:clr>
            <a:srgbClr val="00FF00"/>
          </p15:clr>
        </p15:guide>
        <p15:guide id="11" pos="6722" userDrawn="1">
          <p15:clr>
            <a:srgbClr val="00FF00"/>
          </p15:clr>
        </p15:guide>
        <p15:guide id="12" pos="6858" userDrawn="1">
          <p15:clr>
            <a:srgbClr val="00FF00"/>
          </p15:clr>
        </p15:guide>
        <p15:guide id="13" pos="6127" userDrawn="1">
          <p15:clr>
            <a:srgbClr val="00FF00"/>
          </p15:clr>
        </p15:guide>
        <p15:guide id="14" pos="6263" userDrawn="1">
          <p15:clr>
            <a:srgbClr val="00FF00"/>
          </p15:clr>
        </p15:guide>
        <p15:guide id="15" pos="5533" userDrawn="1">
          <p15:clr>
            <a:srgbClr val="00FF00"/>
          </p15:clr>
        </p15:guide>
        <p15:guide id="16" pos="5669" userDrawn="1">
          <p15:clr>
            <a:srgbClr val="00FF00"/>
          </p15:clr>
        </p15:guide>
        <p15:guide id="17" pos="4938" userDrawn="1">
          <p15:clr>
            <a:srgbClr val="00FF00"/>
          </p15:clr>
        </p15:guide>
        <p15:guide id="18" pos="5074" userDrawn="1">
          <p15:clr>
            <a:srgbClr val="00FF00"/>
          </p15:clr>
        </p15:guide>
        <p15:guide id="19" pos="4343" userDrawn="1">
          <p15:clr>
            <a:srgbClr val="00FF00"/>
          </p15:clr>
        </p15:guide>
        <p15:guide id="20" pos="4480" userDrawn="1">
          <p15:clr>
            <a:srgbClr val="00FF00"/>
          </p15:clr>
        </p15:guide>
        <p15:guide id="21" pos="3771" userDrawn="1">
          <p15:clr>
            <a:srgbClr val="00FF00"/>
          </p15:clr>
        </p15:guide>
        <p15:guide id="22" pos="3908" userDrawn="1">
          <p15:clr>
            <a:srgbClr val="00FF00"/>
          </p15:clr>
        </p15:guide>
        <p15:guide id="23" pos="3154" userDrawn="1">
          <p15:clr>
            <a:srgbClr val="00FF00"/>
          </p15:clr>
        </p15:guide>
        <p15:guide id="24" pos="3290" userDrawn="1">
          <p15:clr>
            <a:srgbClr val="00FF00"/>
          </p15:clr>
        </p15:guide>
        <p15:guide id="25" pos="2560" userDrawn="1">
          <p15:clr>
            <a:srgbClr val="00FF00"/>
          </p15:clr>
        </p15:guide>
        <p15:guide id="26" pos="2696" userDrawn="1">
          <p15:clr>
            <a:srgbClr val="00FF00"/>
          </p15:clr>
        </p15:guide>
        <p15:guide id="27" pos="1958" userDrawn="1">
          <p15:clr>
            <a:srgbClr val="00FF00"/>
          </p15:clr>
        </p15:guide>
        <p15:guide id="28" pos="2101" userDrawn="1">
          <p15:clr>
            <a:srgbClr val="00FF00"/>
          </p15:clr>
        </p15:guide>
        <p15:guide id="29" pos="1370" userDrawn="1">
          <p15:clr>
            <a:srgbClr val="00FF00"/>
          </p15:clr>
        </p15:guide>
        <p15:guide id="30" pos="1506" userDrawn="1">
          <p15:clr>
            <a:srgbClr val="00FF00"/>
          </p15:clr>
        </p15:guide>
        <p15:guide id="31" pos="776" userDrawn="1">
          <p15:clr>
            <a:srgbClr val="00FF00"/>
          </p15:clr>
        </p15:guide>
        <p15:guide id="32" pos="912" userDrawn="1">
          <p15:clr>
            <a:srgbClr val="00FF00"/>
          </p15:clr>
        </p15:guide>
        <p15:guide id="33" orient="horz" pos="1440" userDrawn="1">
          <p15:clr>
            <a:srgbClr val="00FF00"/>
          </p15:clr>
        </p15:guide>
        <p15:guide id="34" orient="horz" pos="1576" userDrawn="1">
          <p15:clr>
            <a:srgbClr val="00FF00"/>
          </p15:clr>
        </p15:guide>
        <p15:guide id="35" orient="horz" pos="2698" userDrawn="1">
          <p15:clr>
            <a:srgbClr val="00FF00"/>
          </p15:clr>
        </p15:guide>
        <p15:guide id="36" orient="horz" pos="2834" userDrawn="1">
          <p15:clr>
            <a:srgbClr val="00FF00"/>
          </p15:clr>
        </p15:guide>
        <p15:guide id="37" orient="horz" pos="810" userDrawn="1">
          <p15:clr>
            <a:srgbClr val="00FF00"/>
          </p15:clr>
        </p15:guide>
        <p15:guide id="38" orient="horz" pos="946" userDrawn="1">
          <p15:clr>
            <a:srgbClr val="00FF00"/>
          </p15:clr>
        </p15:guide>
        <p15:guide id="39" orient="horz" pos="3327" userDrawn="1">
          <p15:clr>
            <a:srgbClr val="00FF00"/>
          </p15:clr>
        </p15:guide>
        <p15:guide id="40" orient="horz" pos="3463" userDrawn="1">
          <p15:clr>
            <a:srgbClr val="00FF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3F107A-2A9C-D9B7-DCAD-189759297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80687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544" imgH="544" progId="TCLayout.ActiveDocument.1">
                  <p:embed/>
                </p:oleObj>
              </mc:Choice>
              <mc:Fallback>
                <p:oleObj name="Diapositive think-cell" r:id="rId16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F107A-2A9C-D9B7-DCAD-189759297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796DBD-F9A1-8027-412C-BA6D866A9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D6D1D2-B32E-9CF8-A816-C55391579F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  <a:endParaRPr lang="fr-FR" dirty="0"/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ADACA-51B2-5A20-1019-59DADD8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8460" y="6311001"/>
            <a:ext cx="5400000" cy="2204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spc="-2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Nom de la présent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F13631D-F548-5957-3D27-3E2DF80F0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36577"/>
            <a:ext cx="7200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lang="en-GB" sz="1100" b="0" spc="-20" smtClean="0">
                <a:solidFill>
                  <a:schemeClr val="tx2"/>
                </a:solidFill>
                <a:latin typeface="+mj-lt"/>
              </a:defRPr>
            </a:lvl1pPr>
          </a:lstStyle>
          <a:p>
            <a:fld id="{22A8F993-E9C6-4879-8876-5511108B5C62}" type="slidenum">
              <a:rPr lang="fr-FR" smtClean="0"/>
              <a:pPr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440389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706" r:id="rId8"/>
    <p:sldLayoutId id="2147483707" r:id="rId9"/>
    <p:sldLayoutId id="2147483687" r:id="rId10"/>
    <p:sldLayoutId id="2147483688" r:id="rId11"/>
    <p:sldLayoutId id="2147483689" r:id="rId12"/>
    <p:sldLayoutId id="2147483690" r:id="rId13"/>
  </p:sldLayoutIdLst>
  <p:hf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Font typeface="Arial" panose="020B0604020202020204" pitchFamily="34" charset="0"/>
        <a:buNone/>
        <a:defRPr sz="4800" b="1" kern="1200" spc="-2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 spc="-2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 spc="-2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00FF00"/>
          </p15:clr>
        </p15:guide>
        <p15:guide id="2" orient="horz" pos="362" userDrawn="1">
          <p15:clr>
            <a:srgbClr val="00FF00"/>
          </p15:clr>
        </p15:guide>
        <p15:guide id="3" userDrawn="1">
          <p15:clr>
            <a:srgbClr val="00FF00"/>
          </p15:clr>
        </p15:guide>
        <p15:guide id="4" pos="362" userDrawn="1">
          <p15:clr>
            <a:srgbClr val="00FF00"/>
          </p15:clr>
        </p15:guide>
        <p15:guide id="5" orient="horz" pos="3957" userDrawn="1">
          <p15:clr>
            <a:srgbClr val="00FF00"/>
          </p15:clr>
        </p15:guide>
        <p15:guide id="6" orient="horz" pos="4320" userDrawn="1">
          <p15:clr>
            <a:srgbClr val="00FF00"/>
          </p15:clr>
        </p15:guide>
        <p15:guide id="7" pos="7333" userDrawn="1">
          <p15:clr>
            <a:srgbClr val="00FF00"/>
          </p15:clr>
        </p15:guide>
        <p15:guide id="8" pos="7680" userDrawn="1">
          <p15:clr>
            <a:srgbClr val="00FF00"/>
          </p15:clr>
        </p15:guide>
        <p15:guide id="9" orient="horz" pos="2091" userDrawn="1">
          <p15:clr>
            <a:srgbClr val="00FF00"/>
          </p15:clr>
        </p15:guide>
        <p15:guide id="10" orient="horz" pos="2228" userDrawn="1">
          <p15:clr>
            <a:srgbClr val="00FF00"/>
          </p15:clr>
        </p15:guide>
        <p15:guide id="11" pos="6722" userDrawn="1">
          <p15:clr>
            <a:srgbClr val="00FF00"/>
          </p15:clr>
        </p15:guide>
        <p15:guide id="12" pos="6858" userDrawn="1">
          <p15:clr>
            <a:srgbClr val="00FF00"/>
          </p15:clr>
        </p15:guide>
        <p15:guide id="13" pos="6127" userDrawn="1">
          <p15:clr>
            <a:srgbClr val="00FF00"/>
          </p15:clr>
        </p15:guide>
        <p15:guide id="14" pos="6263" userDrawn="1">
          <p15:clr>
            <a:srgbClr val="00FF00"/>
          </p15:clr>
        </p15:guide>
        <p15:guide id="15" pos="5533" userDrawn="1">
          <p15:clr>
            <a:srgbClr val="00FF00"/>
          </p15:clr>
        </p15:guide>
        <p15:guide id="16" pos="5669" userDrawn="1">
          <p15:clr>
            <a:srgbClr val="00FF00"/>
          </p15:clr>
        </p15:guide>
        <p15:guide id="17" pos="4938" userDrawn="1">
          <p15:clr>
            <a:srgbClr val="00FF00"/>
          </p15:clr>
        </p15:guide>
        <p15:guide id="18" pos="5074" userDrawn="1">
          <p15:clr>
            <a:srgbClr val="00FF00"/>
          </p15:clr>
        </p15:guide>
        <p15:guide id="19" pos="4343" userDrawn="1">
          <p15:clr>
            <a:srgbClr val="00FF00"/>
          </p15:clr>
        </p15:guide>
        <p15:guide id="20" pos="4480" userDrawn="1">
          <p15:clr>
            <a:srgbClr val="00FF00"/>
          </p15:clr>
        </p15:guide>
        <p15:guide id="21" pos="3771" userDrawn="1">
          <p15:clr>
            <a:srgbClr val="00FF00"/>
          </p15:clr>
        </p15:guide>
        <p15:guide id="22" pos="3908" userDrawn="1">
          <p15:clr>
            <a:srgbClr val="00FF00"/>
          </p15:clr>
        </p15:guide>
        <p15:guide id="23" pos="3154" userDrawn="1">
          <p15:clr>
            <a:srgbClr val="00FF00"/>
          </p15:clr>
        </p15:guide>
        <p15:guide id="24" pos="3290" userDrawn="1">
          <p15:clr>
            <a:srgbClr val="00FF00"/>
          </p15:clr>
        </p15:guide>
        <p15:guide id="25" pos="2560" userDrawn="1">
          <p15:clr>
            <a:srgbClr val="00FF00"/>
          </p15:clr>
        </p15:guide>
        <p15:guide id="26" pos="2696" userDrawn="1">
          <p15:clr>
            <a:srgbClr val="00FF00"/>
          </p15:clr>
        </p15:guide>
        <p15:guide id="27" pos="1958" userDrawn="1">
          <p15:clr>
            <a:srgbClr val="00FF00"/>
          </p15:clr>
        </p15:guide>
        <p15:guide id="28" pos="2101" userDrawn="1">
          <p15:clr>
            <a:srgbClr val="00FF00"/>
          </p15:clr>
        </p15:guide>
        <p15:guide id="29" pos="1370" userDrawn="1">
          <p15:clr>
            <a:srgbClr val="00FF00"/>
          </p15:clr>
        </p15:guide>
        <p15:guide id="30" pos="1506" userDrawn="1">
          <p15:clr>
            <a:srgbClr val="00FF00"/>
          </p15:clr>
        </p15:guide>
        <p15:guide id="31" pos="776" userDrawn="1">
          <p15:clr>
            <a:srgbClr val="00FF00"/>
          </p15:clr>
        </p15:guide>
        <p15:guide id="32" pos="912" userDrawn="1">
          <p15:clr>
            <a:srgbClr val="00FF00"/>
          </p15:clr>
        </p15:guide>
        <p15:guide id="33" orient="horz" pos="1440" userDrawn="1">
          <p15:clr>
            <a:srgbClr val="00FF00"/>
          </p15:clr>
        </p15:guide>
        <p15:guide id="34" orient="horz" pos="1576" userDrawn="1">
          <p15:clr>
            <a:srgbClr val="00FF00"/>
          </p15:clr>
        </p15:guide>
        <p15:guide id="35" orient="horz" pos="2698" userDrawn="1">
          <p15:clr>
            <a:srgbClr val="00FF00"/>
          </p15:clr>
        </p15:guide>
        <p15:guide id="36" orient="horz" pos="2834" userDrawn="1">
          <p15:clr>
            <a:srgbClr val="00FF00"/>
          </p15:clr>
        </p15:guide>
        <p15:guide id="37" orient="horz" pos="810" userDrawn="1">
          <p15:clr>
            <a:srgbClr val="00FF00"/>
          </p15:clr>
        </p15:guide>
        <p15:guide id="38" orient="horz" pos="946" userDrawn="1">
          <p15:clr>
            <a:srgbClr val="00FF00"/>
          </p15:clr>
        </p15:guide>
        <p15:guide id="39" orient="horz" pos="3327" userDrawn="1">
          <p15:clr>
            <a:srgbClr val="00FF00"/>
          </p15:clr>
        </p15:guide>
        <p15:guide id="40" orient="horz" pos="3463" userDrawn="1">
          <p15:clr>
            <a:srgbClr val="00FF0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796DBD-F9A1-8027-412C-BA6D866A9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D6D1D2-B32E-9CF8-A816-C55391579F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fr-FR" dirty="0"/>
              <a:t>6</a:t>
            </a:r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14866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685" r:id="rId12"/>
    <p:sldLayoutId id="2147483686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 spc="-2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2800" kern="1200" spc="-2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2400" b="0" kern="1200" spc="-2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2000" kern="1200" spc="-2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Marianne" panose="02000000000000000000" pitchFamily="2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00FF00"/>
          </p15:clr>
        </p15:guide>
        <p15:guide id="2" orient="horz" pos="362" userDrawn="1">
          <p15:clr>
            <a:srgbClr val="00FF00"/>
          </p15:clr>
        </p15:guide>
        <p15:guide id="3" userDrawn="1">
          <p15:clr>
            <a:srgbClr val="00FF00"/>
          </p15:clr>
        </p15:guide>
        <p15:guide id="4" pos="362" userDrawn="1">
          <p15:clr>
            <a:srgbClr val="00FF00"/>
          </p15:clr>
        </p15:guide>
        <p15:guide id="5" orient="horz" pos="3957" userDrawn="1">
          <p15:clr>
            <a:srgbClr val="00FF00"/>
          </p15:clr>
        </p15:guide>
        <p15:guide id="6" orient="horz" pos="4320" userDrawn="1">
          <p15:clr>
            <a:srgbClr val="00FF00"/>
          </p15:clr>
        </p15:guide>
        <p15:guide id="7" pos="7333" userDrawn="1">
          <p15:clr>
            <a:srgbClr val="00FF00"/>
          </p15:clr>
        </p15:guide>
        <p15:guide id="8" pos="7680" userDrawn="1">
          <p15:clr>
            <a:srgbClr val="00FF00"/>
          </p15:clr>
        </p15:guide>
        <p15:guide id="9" orient="horz" pos="2091" userDrawn="1">
          <p15:clr>
            <a:srgbClr val="00FF00"/>
          </p15:clr>
        </p15:guide>
        <p15:guide id="10" orient="horz" pos="2228" userDrawn="1">
          <p15:clr>
            <a:srgbClr val="00FF00"/>
          </p15:clr>
        </p15:guide>
        <p15:guide id="11" pos="6722" userDrawn="1">
          <p15:clr>
            <a:srgbClr val="00FF00"/>
          </p15:clr>
        </p15:guide>
        <p15:guide id="12" pos="6858" userDrawn="1">
          <p15:clr>
            <a:srgbClr val="00FF00"/>
          </p15:clr>
        </p15:guide>
        <p15:guide id="13" pos="6127" userDrawn="1">
          <p15:clr>
            <a:srgbClr val="00FF00"/>
          </p15:clr>
        </p15:guide>
        <p15:guide id="14" pos="6263" userDrawn="1">
          <p15:clr>
            <a:srgbClr val="00FF00"/>
          </p15:clr>
        </p15:guide>
        <p15:guide id="15" pos="5533" userDrawn="1">
          <p15:clr>
            <a:srgbClr val="00FF00"/>
          </p15:clr>
        </p15:guide>
        <p15:guide id="16" pos="5669" userDrawn="1">
          <p15:clr>
            <a:srgbClr val="00FF00"/>
          </p15:clr>
        </p15:guide>
        <p15:guide id="17" pos="4938" userDrawn="1">
          <p15:clr>
            <a:srgbClr val="00FF00"/>
          </p15:clr>
        </p15:guide>
        <p15:guide id="18" pos="5074" userDrawn="1">
          <p15:clr>
            <a:srgbClr val="00FF00"/>
          </p15:clr>
        </p15:guide>
        <p15:guide id="19" pos="4343" userDrawn="1">
          <p15:clr>
            <a:srgbClr val="00FF00"/>
          </p15:clr>
        </p15:guide>
        <p15:guide id="20" pos="4480" userDrawn="1">
          <p15:clr>
            <a:srgbClr val="00FF00"/>
          </p15:clr>
        </p15:guide>
        <p15:guide id="21" pos="3771" userDrawn="1">
          <p15:clr>
            <a:srgbClr val="00FF00"/>
          </p15:clr>
        </p15:guide>
        <p15:guide id="22" pos="3908" userDrawn="1">
          <p15:clr>
            <a:srgbClr val="00FF00"/>
          </p15:clr>
        </p15:guide>
        <p15:guide id="23" pos="3154" userDrawn="1">
          <p15:clr>
            <a:srgbClr val="00FF00"/>
          </p15:clr>
        </p15:guide>
        <p15:guide id="24" pos="3290" userDrawn="1">
          <p15:clr>
            <a:srgbClr val="00FF00"/>
          </p15:clr>
        </p15:guide>
        <p15:guide id="25" pos="2560" userDrawn="1">
          <p15:clr>
            <a:srgbClr val="00FF00"/>
          </p15:clr>
        </p15:guide>
        <p15:guide id="26" pos="2696" userDrawn="1">
          <p15:clr>
            <a:srgbClr val="00FF00"/>
          </p15:clr>
        </p15:guide>
        <p15:guide id="27" pos="1958" userDrawn="1">
          <p15:clr>
            <a:srgbClr val="00FF00"/>
          </p15:clr>
        </p15:guide>
        <p15:guide id="28" pos="2101" userDrawn="1">
          <p15:clr>
            <a:srgbClr val="00FF00"/>
          </p15:clr>
        </p15:guide>
        <p15:guide id="29" pos="1370" userDrawn="1">
          <p15:clr>
            <a:srgbClr val="00FF00"/>
          </p15:clr>
        </p15:guide>
        <p15:guide id="30" pos="1506" userDrawn="1">
          <p15:clr>
            <a:srgbClr val="00FF00"/>
          </p15:clr>
        </p15:guide>
        <p15:guide id="31" pos="776" userDrawn="1">
          <p15:clr>
            <a:srgbClr val="00FF00"/>
          </p15:clr>
        </p15:guide>
        <p15:guide id="32" pos="912" userDrawn="1">
          <p15:clr>
            <a:srgbClr val="00FF00"/>
          </p15:clr>
        </p15:guide>
        <p15:guide id="33" orient="horz" pos="1440" userDrawn="1">
          <p15:clr>
            <a:srgbClr val="00FF00"/>
          </p15:clr>
        </p15:guide>
        <p15:guide id="34" orient="horz" pos="1576" userDrawn="1">
          <p15:clr>
            <a:srgbClr val="00FF00"/>
          </p15:clr>
        </p15:guide>
        <p15:guide id="35" orient="horz" pos="2698" userDrawn="1">
          <p15:clr>
            <a:srgbClr val="00FF00"/>
          </p15:clr>
        </p15:guide>
        <p15:guide id="36" orient="horz" pos="2834" userDrawn="1">
          <p15:clr>
            <a:srgbClr val="00FF00"/>
          </p15:clr>
        </p15:guide>
        <p15:guide id="37" orient="horz" pos="810" userDrawn="1">
          <p15:clr>
            <a:srgbClr val="00FF00"/>
          </p15:clr>
        </p15:guide>
        <p15:guide id="38" orient="horz" pos="946" userDrawn="1">
          <p15:clr>
            <a:srgbClr val="00FF00"/>
          </p15:clr>
        </p15:guide>
        <p15:guide id="39" orient="horz" pos="3327" userDrawn="1">
          <p15:clr>
            <a:srgbClr val="00FF00"/>
          </p15:clr>
        </p15:guide>
        <p15:guide id="40" orient="horz" pos="3463" userDrawn="1">
          <p15:clr>
            <a:srgbClr val="00FF0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3F107A-2A9C-D9B7-DCAD-1897592973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7" imgW="544" imgH="544" progId="TCLayout.ActiveDocument.1">
                  <p:embed/>
                </p:oleObj>
              </mc:Choice>
              <mc:Fallback>
                <p:oleObj name="Diapositive think-cell" r:id="rId17" imgW="544" imgH="54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3F107A-2A9C-D9B7-DCAD-189759297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796DBD-F9A1-8027-412C-BA6D866A9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D6D1D2-B32E-9CF8-A816-C55391579F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6</a:t>
            </a:r>
            <a:endParaRPr lang="fr-FR" dirty="0"/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FADACA-51B2-5A20-1019-59DADD8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48460" y="6311001"/>
            <a:ext cx="5400000" cy="2204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spc="-2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fr-FR" dirty="0"/>
              <a:t>Nom de la présent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F13631D-F548-5957-3D27-3E2DF80F0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36577"/>
            <a:ext cx="7200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lang="en-GB" sz="1100" b="0" spc="-20" smtClean="0">
                <a:solidFill>
                  <a:schemeClr val="tx2"/>
                </a:solidFill>
                <a:latin typeface="+mj-lt"/>
              </a:defRPr>
            </a:lvl1pPr>
          </a:lstStyle>
          <a:p>
            <a:fld id="{22A8F993-E9C6-4879-8876-5511108B5C62}" type="slidenum">
              <a:rPr lang="fr-FR" smtClean="0"/>
              <a:pPr/>
              <a:t>‹N°›</a:t>
            </a:fld>
            <a:r>
              <a:rPr lang="fr-FR" dirty="0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14866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</p:sldLayoutIdLst>
  <p:hf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Font typeface="Arial" panose="020B0604020202020204" pitchFamily="34" charset="0"/>
        <a:buNone/>
        <a:defRPr sz="4800" b="1" kern="1200" spc="-2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 spc="-2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 spc="-2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 spc="-2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600" kern="1200" spc="-2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00FF00"/>
          </p15:clr>
        </p15:guide>
        <p15:guide id="2" orient="horz" pos="362" userDrawn="1">
          <p15:clr>
            <a:srgbClr val="00FF00"/>
          </p15:clr>
        </p15:guide>
        <p15:guide id="3" userDrawn="1">
          <p15:clr>
            <a:srgbClr val="00FF00"/>
          </p15:clr>
        </p15:guide>
        <p15:guide id="4" pos="362" userDrawn="1">
          <p15:clr>
            <a:srgbClr val="00FF00"/>
          </p15:clr>
        </p15:guide>
        <p15:guide id="5" orient="horz" pos="3957" userDrawn="1">
          <p15:clr>
            <a:srgbClr val="00FF00"/>
          </p15:clr>
        </p15:guide>
        <p15:guide id="6" orient="horz" pos="4320" userDrawn="1">
          <p15:clr>
            <a:srgbClr val="00FF00"/>
          </p15:clr>
        </p15:guide>
        <p15:guide id="7" pos="7333" userDrawn="1">
          <p15:clr>
            <a:srgbClr val="00FF00"/>
          </p15:clr>
        </p15:guide>
        <p15:guide id="8" pos="7680" userDrawn="1">
          <p15:clr>
            <a:srgbClr val="00FF00"/>
          </p15:clr>
        </p15:guide>
        <p15:guide id="9" orient="horz" pos="2091" userDrawn="1">
          <p15:clr>
            <a:srgbClr val="00FF00"/>
          </p15:clr>
        </p15:guide>
        <p15:guide id="10" orient="horz" pos="2228" userDrawn="1">
          <p15:clr>
            <a:srgbClr val="00FF00"/>
          </p15:clr>
        </p15:guide>
        <p15:guide id="11" pos="6722" userDrawn="1">
          <p15:clr>
            <a:srgbClr val="00FF00"/>
          </p15:clr>
        </p15:guide>
        <p15:guide id="12" pos="6858" userDrawn="1">
          <p15:clr>
            <a:srgbClr val="00FF00"/>
          </p15:clr>
        </p15:guide>
        <p15:guide id="13" pos="6127" userDrawn="1">
          <p15:clr>
            <a:srgbClr val="00FF00"/>
          </p15:clr>
        </p15:guide>
        <p15:guide id="14" pos="6263" userDrawn="1">
          <p15:clr>
            <a:srgbClr val="00FF00"/>
          </p15:clr>
        </p15:guide>
        <p15:guide id="15" pos="5533" userDrawn="1">
          <p15:clr>
            <a:srgbClr val="00FF00"/>
          </p15:clr>
        </p15:guide>
        <p15:guide id="16" pos="5669" userDrawn="1">
          <p15:clr>
            <a:srgbClr val="00FF00"/>
          </p15:clr>
        </p15:guide>
        <p15:guide id="17" pos="4938" userDrawn="1">
          <p15:clr>
            <a:srgbClr val="00FF00"/>
          </p15:clr>
        </p15:guide>
        <p15:guide id="18" pos="5074" userDrawn="1">
          <p15:clr>
            <a:srgbClr val="00FF00"/>
          </p15:clr>
        </p15:guide>
        <p15:guide id="19" pos="4343" userDrawn="1">
          <p15:clr>
            <a:srgbClr val="00FF00"/>
          </p15:clr>
        </p15:guide>
        <p15:guide id="20" pos="4480" userDrawn="1">
          <p15:clr>
            <a:srgbClr val="00FF00"/>
          </p15:clr>
        </p15:guide>
        <p15:guide id="21" pos="3771" userDrawn="1">
          <p15:clr>
            <a:srgbClr val="00FF00"/>
          </p15:clr>
        </p15:guide>
        <p15:guide id="22" pos="3908" userDrawn="1">
          <p15:clr>
            <a:srgbClr val="00FF00"/>
          </p15:clr>
        </p15:guide>
        <p15:guide id="23" pos="3154" userDrawn="1">
          <p15:clr>
            <a:srgbClr val="00FF00"/>
          </p15:clr>
        </p15:guide>
        <p15:guide id="24" pos="3290" userDrawn="1">
          <p15:clr>
            <a:srgbClr val="00FF00"/>
          </p15:clr>
        </p15:guide>
        <p15:guide id="25" pos="2560" userDrawn="1">
          <p15:clr>
            <a:srgbClr val="00FF00"/>
          </p15:clr>
        </p15:guide>
        <p15:guide id="26" pos="2696" userDrawn="1">
          <p15:clr>
            <a:srgbClr val="00FF00"/>
          </p15:clr>
        </p15:guide>
        <p15:guide id="27" pos="1958" userDrawn="1">
          <p15:clr>
            <a:srgbClr val="00FF00"/>
          </p15:clr>
        </p15:guide>
        <p15:guide id="28" pos="2101" userDrawn="1">
          <p15:clr>
            <a:srgbClr val="00FF00"/>
          </p15:clr>
        </p15:guide>
        <p15:guide id="29" pos="1370" userDrawn="1">
          <p15:clr>
            <a:srgbClr val="00FF00"/>
          </p15:clr>
        </p15:guide>
        <p15:guide id="30" pos="1506" userDrawn="1">
          <p15:clr>
            <a:srgbClr val="00FF00"/>
          </p15:clr>
        </p15:guide>
        <p15:guide id="31" pos="776" userDrawn="1">
          <p15:clr>
            <a:srgbClr val="00FF00"/>
          </p15:clr>
        </p15:guide>
        <p15:guide id="32" pos="912" userDrawn="1">
          <p15:clr>
            <a:srgbClr val="00FF00"/>
          </p15:clr>
        </p15:guide>
        <p15:guide id="33" orient="horz" pos="1440" userDrawn="1">
          <p15:clr>
            <a:srgbClr val="00FF00"/>
          </p15:clr>
        </p15:guide>
        <p15:guide id="34" orient="horz" pos="1576" userDrawn="1">
          <p15:clr>
            <a:srgbClr val="00FF00"/>
          </p15:clr>
        </p15:guide>
        <p15:guide id="35" orient="horz" pos="2698" userDrawn="1">
          <p15:clr>
            <a:srgbClr val="00FF00"/>
          </p15:clr>
        </p15:guide>
        <p15:guide id="36" orient="horz" pos="2834" userDrawn="1">
          <p15:clr>
            <a:srgbClr val="00FF00"/>
          </p15:clr>
        </p15:guide>
        <p15:guide id="37" orient="horz" pos="810" userDrawn="1">
          <p15:clr>
            <a:srgbClr val="00FF00"/>
          </p15:clr>
        </p15:guide>
        <p15:guide id="38" orient="horz" pos="946" userDrawn="1">
          <p15:clr>
            <a:srgbClr val="00FF00"/>
          </p15:clr>
        </p15:guide>
        <p15:guide id="39" orient="horz" pos="3327" userDrawn="1">
          <p15:clr>
            <a:srgbClr val="00FF00"/>
          </p15:clr>
        </p15:guide>
        <p15:guide id="40" orient="horz" pos="3463" userDrawn="1">
          <p15:clr>
            <a:srgbClr val="00FF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10" Type="http://schemas.openxmlformats.org/officeDocument/2006/relationships/image" Target="../media/image48.svg"/><Relationship Id="rId4" Type="http://schemas.openxmlformats.org/officeDocument/2006/relationships/image" Target="../media/image57.svg"/><Relationship Id="rId9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" Type="http://schemas.openxmlformats.org/officeDocument/2006/relationships/image" Target="../media/image63.png"/><Relationship Id="rId21" Type="http://schemas.openxmlformats.org/officeDocument/2006/relationships/image" Target="../media/image81.jpe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17" Type="http://schemas.openxmlformats.org/officeDocument/2006/relationships/image" Target="../media/image77.png"/><Relationship Id="rId25" Type="http://schemas.openxmlformats.org/officeDocument/2006/relationships/image" Target="../media/image85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6.png"/><Relationship Id="rId20" Type="http://schemas.openxmlformats.org/officeDocument/2006/relationships/image" Target="../media/image80.png"/><Relationship Id="rId29" Type="http://schemas.openxmlformats.org/officeDocument/2006/relationships/image" Target="../media/image89.png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66.png"/><Relationship Id="rId11" Type="http://schemas.openxmlformats.org/officeDocument/2006/relationships/image" Target="../media/image71.jpeg"/><Relationship Id="rId24" Type="http://schemas.openxmlformats.org/officeDocument/2006/relationships/image" Target="../media/image84.png"/><Relationship Id="rId5" Type="http://schemas.openxmlformats.org/officeDocument/2006/relationships/image" Target="../media/image65.png"/><Relationship Id="rId15" Type="http://schemas.openxmlformats.org/officeDocument/2006/relationships/image" Target="../media/image75.jpe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10" Type="http://schemas.openxmlformats.org/officeDocument/2006/relationships/image" Target="../media/image70.jpeg"/><Relationship Id="rId19" Type="http://schemas.openxmlformats.org/officeDocument/2006/relationships/image" Target="../media/image79.jpeg"/><Relationship Id="rId4" Type="http://schemas.openxmlformats.org/officeDocument/2006/relationships/image" Target="../media/image64.png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jpeg"/><Relationship Id="rId27" Type="http://schemas.openxmlformats.org/officeDocument/2006/relationships/image" Target="../media/image87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3.png"/><Relationship Id="rId18" Type="http://schemas.openxmlformats.org/officeDocument/2006/relationships/image" Target="../media/image78.png"/><Relationship Id="rId26" Type="http://schemas.openxmlformats.org/officeDocument/2006/relationships/image" Target="../media/image86.png"/><Relationship Id="rId39" Type="http://schemas.openxmlformats.org/officeDocument/2006/relationships/image" Target="../media/image94.png"/><Relationship Id="rId21" Type="http://schemas.openxmlformats.org/officeDocument/2006/relationships/image" Target="../media/image81.jpeg"/><Relationship Id="rId34" Type="http://schemas.openxmlformats.org/officeDocument/2006/relationships/customXml" Target="../ink/ink10.xml"/><Relationship Id="rId42" Type="http://schemas.openxmlformats.org/officeDocument/2006/relationships/customXml" Target="../ink/ink14.xml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76.png"/><Relationship Id="rId29" Type="http://schemas.openxmlformats.org/officeDocument/2006/relationships/image" Target="../media/image8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6.png"/><Relationship Id="rId11" Type="http://schemas.openxmlformats.org/officeDocument/2006/relationships/image" Target="../media/image71.jpeg"/><Relationship Id="rId24" Type="http://schemas.openxmlformats.org/officeDocument/2006/relationships/image" Target="../media/image84.png"/><Relationship Id="rId32" Type="http://schemas.openxmlformats.org/officeDocument/2006/relationships/customXml" Target="../ink/ink9.xml"/><Relationship Id="rId37" Type="http://schemas.openxmlformats.org/officeDocument/2006/relationships/image" Target="../media/image93.png"/><Relationship Id="rId40" Type="http://schemas.openxmlformats.org/officeDocument/2006/relationships/customXml" Target="../ink/ink13.xml"/><Relationship Id="rId45" Type="http://schemas.openxmlformats.org/officeDocument/2006/relationships/image" Target="../media/image97.png"/><Relationship Id="rId5" Type="http://schemas.openxmlformats.org/officeDocument/2006/relationships/image" Target="../media/image65.png"/><Relationship Id="rId15" Type="http://schemas.openxmlformats.org/officeDocument/2006/relationships/image" Target="../media/image75.jpeg"/><Relationship Id="rId23" Type="http://schemas.openxmlformats.org/officeDocument/2006/relationships/image" Target="../media/image83.png"/><Relationship Id="rId28" Type="http://schemas.openxmlformats.org/officeDocument/2006/relationships/image" Target="../media/image88.png"/><Relationship Id="rId36" Type="http://schemas.openxmlformats.org/officeDocument/2006/relationships/customXml" Target="../ink/ink11.xml"/><Relationship Id="rId10" Type="http://schemas.openxmlformats.org/officeDocument/2006/relationships/image" Target="../media/image70.jpeg"/><Relationship Id="rId19" Type="http://schemas.openxmlformats.org/officeDocument/2006/relationships/image" Target="../media/image79.jpeg"/><Relationship Id="rId31" Type="http://schemas.openxmlformats.org/officeDocument/2006/relationships/image" Target="../media/image90.png"/><Relationship Id="rId44" Type="http://schemas.openxmlformats.org/officeDocument/2006/relationships/customXml" Target="../ink/ink15.xml"/><Relationship Id="rId4" Type="http://schemas.openxmlformats.org/officeDocument/2006/relationships/image" Target="../media/image64.png"/><Relationship Id="rId9" Type="http://schemas.openxmlformats.org/officeDocument/2006/relationships/image" Target="../media/image69.png"/><Relationship Id="rId14" Type="http://schemas.openxmlformats.org/officeDocument/2006/relationships/image" Target="../media/image74.png"/><Relationship Id="rId22" Type="http://schemas.openxmlformats.org/officeDocument/2006/relationships/image" Target="../media/image82.jpeg"/><Relationship Id="rId27" Type="http://schemas.openxmlformats.org/officeDocument/2006/relationships/image" Target="../media/image87.png"/><Relationship Id="rId30" Type="http://schemas.openxmlformats.org/officeDocument/2006/relationships/customXml" Target="../ink/ink8.xml"/><Relationship Id="rId35" Type="http://schemas.openxmlformats.org/officeDocument/2006/relationships/image" Target="../media/image92.png"/><Relationship Id="rId43" Type="http://schemas.openxmlformats.org/officeDocument/2006/relationships/image" Target="../media/image96.png"/><Relationship Id="rId8" Type="http://schemas.openxmlformats.org/officeDocument/2006/relationships/image" Target="../media/image68.png"/><Relationship Id="rId3" Type="http://schemas.openxmlformats.org/officeDocument/2006/relationships/image" Target="../media/image63.png"/><Relationship Id="rId12" Type="http://schemas.openxmlformats.org/officeDocument/2006/relationships/image" Target="../media/image72.png"/><Relationship Id="rId17" Type="http://schemas.openxmlformats.org/officeDocument/2006/relationships/image" Target="../media/image77.png"/><Relationship Id="rId25" Type="http://schemas.openxmlformats.org/officeDocument/2006/relationships/image" Target="../media/image85.png"/><Relationship Id="rId33" Type="http://schemas.openxmlformats.org/officeDocument/2006/relationships/image" Target="../media/image91.png"/><Relationship Id="rId38" Type="http://schemas.openxmlformats.org/officeDocument/2006/relationships/customXml" Target="../ink/ink12.xml"/><Relationship Id="rId20" Type="http://schemas.openxmlformats.org/officeDocument/2006/relationships/image" Target="../media/image80.png"/><Relationship Id="rId41" Type="http://schemas.openxmlformats.org/officeDocument/2006/relationships/image" Target="../media/image9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13" Type="http://schemas.openxmlformats.org/officeDocument/2006/relationships/image" Target="../media/image106.sv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05.png"/><Relationship Id="rId17" Type="http://schemas.openxmlformats.org/officeDocument/2006/relationships/image" Target="../media/image110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0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1.svg"/><Relationship Id="rId11" Type="http://schemas.openxmlformats.org/officeDocument/2006/relationships/image" Target="../media/image51.svg"/><Relationship Id="rId5" Type="http://schemas.openxmlformats.org/officeDocument/2006/relationships/image" Target="../media/image100.png"/><Relationship Id="rId15" Type="http://schemas.openxmlformats.org/officeDocument/2006/relationships/image" Target="../media/image108.svg"/><Relationship Id="rId10" Type="http://schemas.openxmlformats.org/officeDocument/2006/relationships/image" Target="../media/image50.png"/><Relationship Id="rId4" Type="http://schemas.openxmlformats.org/officeDocument/2006/relationships/image" Target="../media/image99.svg"/><Relationship Id="rId9" Type="http://schemas.openxmlformats.org/officeDocument/2006/relationships/image" Target="../media/image104.png"/><Relationship Id="rId14" Type="http://schemas.openxmlformats.org/officeDocument/2006/relationships/image" Target="../media/image10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playlist?list=PLqvVw037WdRU-5h6Obz4ZHk7D_JkaKb7L" TargetMode="External"/><Relationship Id="rId13" Type="http://schemas.openxmlformats.org/officeDocument/2006/relationships/hyperlink" Target="https://poleemploi-my.sharepoint.com/:f:/g/personal/caroline_destombes_pole-emploi_fr/EuJA1F6wMVxAqF_HtWg68rkB-H35s7XPYH1y5ZE_ZyhNdA?e=inSmFp" TargetMode="External"/><Relationship Id="rId18" Type="http://schemas.openxmlformats.org/officeDocument/2006/relationships/hyperlink" Target="https://www.uniformation.fr/entreprise/uniformation-lopco-de-la-cohesion-sociale/les-metiers-de-la-cohesion-sociale" TargetMode="External"/><Relationship Id="rId3" Type="http://schemas.openxmlformats.org/officeDocument/2006/relationships/image" Target="../media/image111.png"/><Relationship Id="rId7" Type="http://schemas.openxmlformats.org/officeDocument/2006/relationships/hyperlink" Target="https://www.pole-emploi.fr/actualites/le-dossier/services-a-la-personne.html" TargetMode="External"/><Relationship Id="rId12" Type="http://schemas.openxmlformats.org/officeDocument/2006/relationships/hyperlink" Target="https://changerdesvies.com/" TargetMode="External"/><Relationship Id="rId17" Type="http://schemas.openxmlformats.org/officeDocument/2006/relationships/hyperlink" Target="https://www.youtube.com/watch?v=_E0P1OuQ11g" TargetMode="External"/><Relationship Id="rId2" Type="http://schemas.openxmlformats.org/officeDocument/2006/relationships/notesSlide" Target="../notesSlides/notesSlide11.xml"/><Relationship Id="rId16" Type="http://schemas.openxmlformats.org/officeDocument/2006/relationships/hyperlink" Target="https://diplomesdelavie.fr/" TargetMode="External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www.pole-emploi.fr/actualites/le-dossier/sante.html" TargetMode="External"/><Relationship Id="rId11" Type="http://schemas.openxmlformats.org/officeDocument/2006/relationships/hyperlink" Target="Webinaire%20Travailler%20en%20France%20dans%20la%20sant&#233;%20avec%20un%20dipl&#244;me%20obtenu%20&#224;%20l'&#233;tranger%20du%2025/04%20:%20https:/www.pole-emploi.tv/widget/travailler_en_france_dans_la_sante_avec_un_diplome_obtenu_en_ue_et_hors_ue_replay_2024_04_25-mp4" TargetMode="External"/><Relationship Id="rId5" Type="http://schemas.openxmlformats.org/officeDocument/2006/relationships/hyperlink" Target="https://prendresoin.francetravail.fr/" TargetMode="External"/><Relationship Id="rId15" Type="http://schemas.openxmlformats.org/officeDocument/2006/relationships/hyperlink" Target="https://jobdeliens.fr/" TargetMode="External"/><Relationship Id="rId10" Type="http://schemas.openxmlformats.org/officeDocument/2006/relationships/hyperlink" Target="https://www.pole-emploi.tv/widget/les_metiers_du_social_et_du_medico_social_replay_2024_04_23-mp4" TargetMode="External"/><Relationship Id="rId19" Type="http://schemas.openxmlformats.org/officeDocument/2006/relationships/hyperlink" Target="https://youtu.be/uMnnRVjCDuc" TargetMode="External"/><Relationship Id="rId4" Type="http://schemas.openxmlformats.org/officeDocument/2006/relationships/hyperlink" Target="https://budi.pole-emploi.net/budi/jcms/516926607_BUDIDocument/" TargetMode="External"/><Relationship Id="rId9" Type="http://schemas.openxmlformats.org/officeDocument/2006/relationships/hyperlink" Target="https://www.pole-emploi.tv/widget/les_metiers_de_la_petite_enfance_replay_2023_04_26-mp4" TargetMode="External"/><Relationship Id="rId14" Type="http://schemas.openxmlformats.org/officeDocument/2006/relationships/hyperlink" Target="https://poleemploi-my.sharepoint.com/:f:/g/personal/caroline_destombes_pole-emploi_fr/Et-m2SkKSiZJnLEJo0WUqLEBuiGyalzfMk2g_jJ6btStlQ?e=AgppcR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rodolphe.rhit@francetravail.fr" TargetMode="External"/><Relationship Id="rId3" Type="http://schemas.openxmlformats.org/officeDocument/2006/relationships/image" Target="../media/image112.png"/><Relationship Id="rId7" Type="http://schemas.openxmlformats.org/officeDocument/2006/relationships/hyperlink" Target="mailto:m-neige.beauvais@francetravail.fr" TargetMode="External"/><Relationship Id="rId12" Type="http://schemas.openxmlformats.org/officeDocument/2006/relationships/image" Target="../media/image1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5.svg"/><Relationship Id="rId11" Type="http://schemas.openxmlformats.org/officeDocument/2006/relationships/image" Target="../media/image117.svg"/><Relationship Id="rId5" Type="http://schemas.openxmlformats.org/officeDocument/2006/relationships/image" Target="../media/image114.png"/><Relationship Id="rId10" Type="http://schemas.openxmlformats.org/officeDocument/2006/relationships/image" Target="../media/image116.png"/><Relationship Id="rId4" Type="http://schemas.openxmlformats.org/officeDocument/2006/relationships/image" Target="../media/image113.svg"/><Relationship Id="rId9" Type="http://schemas.openxmlformats.org/officeDocument/2006/relationships/hyperlink" Target="mailto:c%C3%A9line.gault@francetravail.fr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7.xml"/><Relationship Id="rId6" Type="http://schemas.openxmlformats.org/officeDocument/2006/relationships/image" Target="../media/image1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13" Type="http://schemas.openxmlformats.org/officeDocument/2006/relationships/image" Target="../media/image25.png"/><Relationship Id="rId3" Type="http://schemas.openxmlformats.org/officeDocument/2006/relationships/customXml" Target="../ink/ink1.xml"/><Relationship Id="rId7" Type="http://schemas.openxmlformats.org/officeDocument/2006/relationships/image" Target="../media/image220.png"/><Relationship Id="rId12" Type="http://schemas.openxmlformats.org/officeDocument/2006/relationships/customXml" Target="../ink/ink5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customXml" Target="../ink/ink3.xml"/><Relationship Id="rId11" Type="http://schemas.openxmlformats.org/officeDocument/2006/relationships/image" Target="../media/image24.png"/><Relationship Id="rId5" Type="http://schemas.openxmlformats.org/officeDocument/2006/relationships/customXml" Target="../ink/ink2.xml"/><Relationship Id="rId4" Type="http://schemas.openxmlformats.org/officeDocument/2006/relationships/image" Target="../media/image2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8.png"/><Relationship Id="rId5" Type="http://schemas.openxmlformats.org/officeDocument/2006/relationships/customXml" Target="../ink/ink7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jpeg"/><Relationship Id="rId18" Type="http://schemas.openxmlformats.org/officeDocument/2006/relationships/image" Target="../media/image38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41.svg"/><Relationship Id="rId7" Type="http://schemas.openxmlformats.org/officeDocument/2006/relationships/image" Target="../media/image26.png"/><Relationship Id="rId12" Type="http://schemas.openxmlformats.org/officeDocument/2006/relationships/image" Target="../media/image32.jpeg"/><Relationship Id="rId17" Type="http://schemas.openxmlformats.org/officeDocument/2006/relationships/image" Target="../media/image37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tags" Target="../tags/tag46.xml"/><Relationship Id="rId6" Type="http://schemas.openxmlformats.org/officeDocument/2006/relationships/chart" Target="../charts/chart1.xml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5" Type="http://schemas.openxmlformats.org/officeDocument/2006/relationships/image" Target="../media/image35.svg"/><Relationship Id="rId23" Type="http://schemas.openxmlformats.org/officeDocument/2006/relationships/image" Target="../media/image43.svg"/><Relationship Id="rId10" Type="http://schemas.microsoft.com/office/2007/relationships/hdphoto" Target="../media/hdphoto1.wdp"/><Relationship Id="rId19" Type="http://schemas.openxmlformats.org/officeDocument/2006/relationships/image" Target="../media/image39.sv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0.png"/><Relationship Id="rId14" Type="http://schemas.openxmlformats.org/officeDocument/2006/relationships/image" Target="../media/image34.png"/><Relationship Id="rId22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43.svg"/><Relationship Id="rId3" Type="http://schemas.openxmlformats.org/officeDocument/2006/relationships/image" Target="../media/image44.png"/><Relationship Id="rId7" Type="http://schemas.openxmlformats.org/officeDocument/2006/relationships/image" Target="../media/image48.sv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11" Type="http://schemas.openxmlformats.org/officeDocument/2006/relationships/image" Target="../media/image17.pn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7CC6017-2BF7-C8C4-C4E7-476145DDA7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013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44" imgH="544" progId="TCLayout.ActiveDocument.1">
                  <p:embed/>
                </p:oleObj>
              </mc:Choice>
              <mc:Fallback>
                <p:oleObj name="Diapositive think-cell" r:id="rId4" imgW="544" imgH="54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CC6017-2BF7-C8C4-C4E7-476145DDA7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Espace réservé du texte 39">
            <a:extLst>
              <a:ext uri="{FF2B5EF4-FFF2-40B4-BE49-F238E27FC236}">
                <a16:creationId xmlns:a16="http://schemas.microsoft.com/office/drawing/2014/main" id="{F4035047-8278-CB16-584D-16EF3E6B3F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endParaRPr lang="fr-FR" sz="2800" dirty="0">
              <a:solidFill>
                <a:srgbClr val="0D1440">
                  <a:alpha val="0"/>
                </a:srgbClr>
              </a:solidFill>
              <a:ea typeface="Verdana"/>
            </a:endParaRPr>
          </a:p>
        </p:txBody>
      </p:sp>
      <p:sp>
        <p:nvSpPr>
          <p:cNvPr id="41" name="Espace réservé du texte 40">
            <a:extLst>
              <a:ext uri="{FF2B5EF4-FFF2-40B4-BE49-F238E27FC236}">
                <a16:creationId xmlns:a16="http://schemas.microsoft.com/office/drawing/2014/main" id="{9A9D982E-5DC1-4B30-866F-E634617AD0B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836AE2C-51CF-295C-CAE5-45867BD8D4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2224" y="1307677"/>
            <a:ext cx="7335836" cy="4452101"/>
          </a:xfrm>
        </p:spPr>
        <p:txBody>
          <a:bodyPr vert="horz"/>
          <a:lstStyle/>
          <a:p>
            <a:pPr algn="ctr"/>
            <a:r>
              <a:rPr lang="fr-FR" sz="5400" dirty="0"/>
              <a:t>La semaine des métiers du soin </a:t>
            </a:r>
            <a:br>
              <a:rPr lang="fr-FR" sz="5400" dirty="0"/>
            </a:br>
            <a:r>
              <a:rPr lang="fr-FR" sz="5400"/>
              <a:t>et de l’accompagnement</a:t>
            </a:r>
            <a:br>
              <a:rPr lang="fr-FR" dirty="0"/>
            </a:br>
            <a:endParaRPr lang="fr-FR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8D674-6A63-E4FE-C740-8C6269DFAD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58909" y="4904196"/>
            <a:ext cx="6791981" cy="557621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fr-FR" sz="1600" cap="none" dirty="0"/>
              <a:t>Semaine du 31 mars au 4 avril 2025  avec possibilité de réaliser des évènements du 24 </a:t>
            </a:r>
            <a:r>
              <a:rPr lang="fr-FR" sz="1600" cap="none"/>
              <a:t>mars au</a:t>
            </a:r>
            <a:r>
              <a:rPr lang="fr-FR" sz="1600" cap="none" dirty="0"/>
              <a:t> 11 avril </a:t>
            </a:r>
          </a:p>
          <a:p>
            <a:endParaRPr lang="fr-FR" dirty="0">
              <a:ea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1812675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A2D40BCD-5EB6-11F6-87D0-B07F94D7AD6B}"/>
              </a:ext>
            </a:extLst>
          </p:cNvPr>
          <p:cNvSpPr/>
          <p:nvPr/>
        </p:nvSpPr>
        <p:spPr>
          <a:xfrm>
            <a:off x="5171718" y="4405105"/>
            <a:ext cx="2502568" cy="88552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5" name="Rectangle : coins arrondis 24">
            <a:extLst>
              <a:ext uri="{FF2B5EF4-FFF2-40B4-BE49-F238E27FC236}">
                <a16:creationId xmlns:a16="http://schemas.microsoft.com/office/drawing/2014/main" id="{AD839078-6E4A-45E2-A3BB-DA124A3E4C54}"/>
              </a:ext>
            </a:extLst>
          </p:cNvPr>
          <p:cNvSpPr/>
          <p:nvPr/>
        </p:nvSpPr>
        <p:spPr>
          <a:xfrm>
            <a:off x="8597297" y="534184"/>
            <a:ext cx="2502568" cy="885524"/>
          </a:xfrm>
          <a:prstGeom prst="round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3" name="Rectangle : coins arrondis 22">
            <a:extLst>
              <a:ext uri="{FF2B5EF4-FFF2-40B4-BE49-F238E27FC236}">
                <a16:creationId xmlns:a16="http://schemas.microsoft.com/office/drawing/2014/main" id="{2A2030EE-CEA9-2860-A0E5-DCA5DEAE0F96}"/>
              </a:ext>
            </a:extLst>
          </p:cNvPr>
          <p:cNvSpPr/>
          <p:nvPr/>
        </p:nvSpPr>
        <p:spPr>
          <a:xfrm>
            <a:off x="1216012" y="435967"/>
            <a:ext cx="2502568" cy="885524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4472524-4610-E88D-79D3-560D481DADB7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0</a:t>
            </a:fld>
            <a:r>
              <a:rPr lang="fr-FR"/>
              <a:t> |</a:t>
            </a:r>
            <a:endParaRPr lang="fr-FR" dirty="0"/>
          </a:p>
        </p:txBody>
      </p:sp>
      <p:sp>
        <p:nvSpPr>
          <p:cNvPr id="16" name="Organigramme : Connecteur 15">
            <a:extLst>
              <a:ext uri="{FF2B5EF4-FFF2-40B4-BE49-F238E27FC236}">
                <a16:creationId xmlns:a16="http://schemas.microsoft.com/office/drawing/2014/main" id="{5EEA3843-A19A-A43B-CC85-AA8BE03AA529}"/>
              </a:ext>
            </a:extLst>
          </p:cNvPr>
          <p:cNvSpPr/>
          <p:nvPr/>
        </p:nvSpPr>
        <p:spPr>
          <a:xfrm>
            <a:off x="5247795" y="1452901"/>
            <a:ext cx="2108719" cy="2043404"/>
          </a:xfrm>
          <a:prstGeom prst="flowChartConnector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schemeClr val="accent1">
                <a:lumMod val="40000"/>
                <a:lumOff val="60000"/>
                <a:alpha val="4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400" b="1" dirty="0"/>
              <a:t>Les actions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BE712CF1-8FF8-3573-0473-C445A01E7FC0}"/>
              </a:ext>
            </a:extLst>
          </p:cNvPr>
          <p:cNvSpPr/>
          <p:nvPr/>
        </p:nvSpPr>
        <p:spPr>
          <a:xfrm>
            <a:off x="1155935" y="381377"/>
            <a:ext cx="2502568" cy="88552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Découverte</a:t>
            </a:r>
          </a:p>
          <a:p>
            <a:pPr algn="ctr"/>
            <a:r>
              <a:rPr lang="fr-FR" dirty="0"/>
              <a:t>Secteur &amp; Métiers</a:t>
            </a: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D3FC1084-12F3-3156-F52D-CE18A083C895}"/>
              </a:ext>
            </a:extLst>
          </p:cNvPr>
          <p:cNvSpPr/>
          <p:nvPr/>
        </p:nvSpPr>
        <p:spPr>
          <a:xfrm>
            <a:off x="8533499" y="477102"/>
            <a:ext cx="2502568" cy="885524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/>
              <a:t>Rencontre avec les professionnels et employeurs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A1AA5BEE-4DA9-9AE7-704A-09C1E80B320C}"/>
              </a:ext>
            </a:extLst>
          </p:cNvPr>
          <p:cNvSpPr/>
          <p:nvPr/>
        </p:nvSpPr>
        <p:spPr>
          <a:xfrm>
            <a:off x="5113842" y="4342810"/>
            <a:ext cx="2502568" cy="885524"/>
          </a:xfrm>
          <a:prstGeom prst="round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Formation et dispositifs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3544E7FA-4F19-FC9B-D191-F6E4C7BA1AE3}"/>
              </a:ext>
            </a:extLst>
          </p:cNvPr>
          <p:cNvSpPr txBox="1"/>
          <p:nvPr/>
        </p:nvSpPr>
        <p:spPr>
          <a:xfrm>
            <a:off x="455954" y="1692151"/>
            <a:ext cx="3855865" cy="32316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Ateliers, webinaire de découverte des métiers avec le témoignage de professionnels,</a:t>
            </a:r>
          </a:p>
          <a:p>
            <a:pPr marL="0" lvl="2" algn="just"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Tables rondes entre entreprises et demandeurs d’emploi,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Atelier de détection de potentiel,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Escape </a:t>
            </a:r>
            <a:r>
              <a:rPr lang="fr-FR" sz="1000" dirty="0" err="1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game</a:t>
            </a: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,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Casques de réalité virtuelle,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Jeux, Quizz,</a:t>
            </a:r>
          </a:p>
          <a:p>
            <a:pPr marL="0" lvl="2" algn="just"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Visite d’appartement/ maison pédagogique,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Découverte du matériel spécialisé et de leur utilisation par les professionnels (lève-personne, lit médicalisé, kit de simulation de vieillissement, etc.), </a:t>
            </a: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2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Reconstitution d’une chambre d’hôpital, d’un bloc opératoire, etc.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17B85F10-CA84-E35A-44D0-4E8C1606C8AC}"/>
              </a:ext>
            </a:extLst>
          </p:cNvPr>
          <p:cNvSpPr txBox="1"/>
          <p:nvPr/>
        </p:nvSpPr>
        <p:spPr>
          <a:xfrm>
            <a:off x="8082460" y="1619838"/>
            <a:ext cx="3653586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rgbClr val="002060"/>
              </a:solidFill>
              <a:sym typeface="Phenomena" pitchFamily="50" charset="0"/>
            </a:endParaRP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Visites d’entreprises, </a:t>
            </a: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sym typeface="Phenomena" pitchFamily="50" charset="0"/>
            </a:endParaRP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Portes ouvertes d’établissements,</a:t>
            </a: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sym typeface="Phenomena" pitchFamily="50" charset="0"/>
            </a:endParaRP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Vis ma vie,</a:t>
            </a:r>
          </a:p>
          <a:p>
            <a:pPr marL="171450" lvl="1" indent="-171450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Forum, </a:t>
            </a: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Job dating inversé, </a:t>
            </a:r>
          </a:p>
          <a:p>
            <a:pPr marL="0" lvl="1" algn="just"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cs typeface="Phenomena" pitchFamily="50" charset="0"/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Evénements partenariaux (club RH, matinales, petits </a:t>
            </a:r>
            <a:r>
              <a:rPr lang="fr-FR" sz="1000" dirty="0" err="1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déj’entreprises</a:t>
            </a:r>
            <a:r>
              <a:rPr lang="fr-FR" sz="1000" dirty="0">
                <a:solidFill>
                  <a:schemeClr val="tx1">
                    <a:lumMod val="75000"/>
                  </a:schemeClr>
                </a:solidFill>
                <a:cs typeface="Phenomena" pitchFamily="50" charset="0"/>
                <a:sym typeface="Phenomena" pitchFamily="50" charset="0"/>
              </a:rPr>
              <a:t>, webinaires …)</a:t>
            </a: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rgbClr val="002060"/>
              </a:solidFill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rgbClr val="002060"/>
              </a:solidFill>
              <a:sym typeface="Phenomena" pitchFamily="50" charset="0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5508B8C5-F646-5CDE-9FFD-35E3FCBC4AA8}"/>
              </a:ext>
            </a:extLst>
          </p:cNvPr>
          <p:cNvSpPr txBox="1"/>
          <p:nvPr/>
        </p:nvSpPr>
        <p:spPr>
          <a:xfrm>
            <a:off x="5041640" y="5454211"/>
            <a:ext cx="274320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Présentation des opportunités de formation (Schéma sanitaire et social, POEC, AFEST…)</a:t>
            </a: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chemeClr val="tx1">
                  <a:lumMod val="75000"/>
                </a:schemeClr>
              </a:solidFill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r>
              <a:rPr lang="fr-FR" sz="10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Promotion de l’alternance</a:t>
            </a:r>
          </a:p>
          <a:p>
            <a:pPr marL="0" lvl="1" algn="just">
              <a:defRPr/>
            </a:pPr>
            <a:endParaRPr lang="fr-FR" sz="1000" dirty="0">
              <a:solidFill>
                <a:srgbClr val="002060"/>
              </a:solidFill>
              <a:sym typeface="Phenomena" pitchFamily="50" charset="0"/>
            </a:endParaRPr>
          </a:p>
          <a:p>
            <a:pPr marL="171450" lvl="1" indent="-171450" algn="just">
              <a:buFont typeface="Arial" panose="020B0604020202020204" pitchFamily="34" charset="0"/>
              <a:buChar char="•"/>
              <a:defRPr/>
            </a:pPr>
            <a:endParaRPr lang="fr-FR" sz="1000" dirty="0">
              <a:solidFill>
                <a:srgbClr val="002060"/>
              </a:solidFill>
              <a:sym typeface="Phenomena" pitchFamily="50" charset="0"/>
            </a:endParaRPr>
          </a:p>
        </p:txBody>
      </p:sp>
      <p:cxnSp>
        <p:nvCxnSpPr>
          <p:cNvPr id="35" name="Connecteur : en arc 34">
            <a:extLst>
              <a:ext uri="{FF2B5EF4-FFF2-40B4-BE49-F238E27FC236}">
                <a16:creationId xmlns:a16="http://schemas.microsoft.com/office/drawing/2014/main" id="{A9DD983E-6D39-89FE-1632-D8B82192CEA2}"/>
              </a:ext>
            </a:extLst>
          </p:cNvPr>
          <p:cNvCxnSpPr>
            <a:cxnSpLocks/>
          </p:cNvCxnSpPr>
          <p:nvPr/>
        </p:nvCxnSpPr>
        <p:spPr>
          <a:xfrm rot="10800000">
            <a:off x="3880884" y="919865"/>
            <a:ext cx="1374838" cy="1199881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 : en arc 37">
            <a:extLst>
              <a:ext uri="{FF2B5EF4-FFF2-40B4-BE49-F238E27FC236}">
                <a16:creationId xmlns:a16="http://schemas.microsoft.com/office/drawing/2014/main" id="{DF11298B-138E-655B-E732-999C2A2F46CB}"/>
              </a:ext>
            </a:extLst>
          </p:cNvPr>
          <p:cNvCxnSpPr>
            <a:cxnSpLocks/>
          </p:cNvCxnSpPr>
          <p:nvPr/>
        </p:nvCxnSpPr>
        <p:spPr>
          <a:xfrm flipV="1">
            <a:off x="7203045" y="988334"/>
            <a:ext cx="1130317" cy="898219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 : en arc 44">
            <a:extLst>
              <a:ext uri="{FF2B5EF4-FFF2-40B4-BE49-F238E27FC236}">
                <a16:creationId xmlns:a16="http://schemas.microsoft.com/office/drawing/2014/main" id="{89B688F6-425E-8D49-2565-C6E429C26FF7}"/>
              </a:ext>
            </a:extLst>
          </p:cNvPr>
          <p:cNvCxnSpPr>
            <a:cxnSpLocks/>
          </p:cNvCxnSpPr>
          <p:nvPr/>
        </p:nvCxnSpPr>
        <p:spPr>
          <a:xfrm rot="5400000">
            <a:off x="6092221" y="3557504"/>
            <a:ext cx="800872" cy="543864"/>
          </a:xfrm>
          <a:prstGeom prst="curved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2" name="Graphique 51" descr="Loupe contour">
            <a:extLst>
              <a:ext uri="{FF2B5EF4-FFF2-40B4-BE49-F238E27FC236}">
                <a16:creationId xmlns:a16="http://schemas.microsoft.com/office/drawing/2014/main" id="{17E8DEE3-BD5F-38A0-105B-EE7A22CA79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919864"/>
            <a:ext cx="612272" cy="612272"/>
          </a:xfrm>
          <a:prstGeom prst="rect">
            <a:avLst/>
          </a:prstGeom>
        </p:spPr>
      </p:pic>
      <p:pic>
        <p:nvPicPr>
          <p:cNvPr id="53" name="Graphique 52" descr="Femme médecin contour">
            <a:extLst>
              <a:ext uri="{FF2B5EF4-FFF2-40B4-BE49-F238E27FC236}">
                <a16:creationId xmlns:a16="http://schemas.microsoft.com/office/drawing/2014/main" id="{FC4D0264-E60B-B3EE-BBDA-89E770551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9866" y="1364977"/>
            <a:ext cx="553074" cy="553074"/>
          </a:xfrm>
          <a:prstGeom prst="rect">
            <a:avLst/>
          </a:prstGeom>
        </p:spPr>
      </p:pic>
      <p:pic>
        <p:nvPicPr>
          <p:cNvPr id="54" name="Graphique 53" descr="Homme médecin contour">
            <a:extLst>
              <a:ext uri="{FF2B5EF4-FFF2-40B4-BE49-F238E27FC236}">
                <a16:creationId xmlns:a16="http://schemas.microsoft.com/office/drawing/2014/main" id="{51F78590-6044-F354-48AC-CBC07504B6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537853" y="1373017"/>
            <a:ext cx="553074" cy="553074"/>
          </a:xfrm>
          <a:prstGeom prst="rect">
            <a:avLst/>
          </a:prstGeom>
        </p:spPr>
      </p:pic>
      <p:pic>
        <p:nvPicPr>
          <p:cNvPr id="55" name="Graphique 54" descr="Classe contour">
            <a:extLst>
              <a:ext uri="{FF2B5EF4-FFF2-40B4-BE49-F238E27FC236}">
                <a16:creationId xmlns:a16="http://schemas.microsoft.com/office/drawing/2014/main" id="{754F184A-F470-7C35-3F16-391837BCC4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13168" y="5073876"/>
            <a:ext cx="553075" cy="553075"/>
          </a:xfrm>
          <a:prstGeom prst="rect">
            <a:avLst/>
          </a:prstGeom>
        </p:spPr>
      </p:pic>
      <p:sp>
        <p:nvSpPr>
          <p:cNvPr id="3" name="Espace réservé du pied de page 6">
            <a:extLst>
              <a:ext uri="{FF2B5EF4-FFF2-40B4-BE49-F238E27FC236}">
                <a16:creationId xmlns:a16="http://schemas.microsoft.com/office/drawing/2014/main" id="{3A143895-C021-9B77-FCED-853B3503F513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220173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C787311B-0F44-E587-B86C-A015EC4022A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36613" y="2191024"/>
            <a:ext cx="790575" cy="79057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5" name="Titre 3">
            <a:extLst>
              <a:ext uri="{FF2B5EF4-FFF2-40B4-BE49-F238E27FC236}">
                <a16:creationId xmlns:a16="http://schemas.microsoft.com/office/drawing/2014/main" id="{48E3218F-93B5-6A5C-F685-7F2C5B0CC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2101" y="253817"/>
            <a:ext cx="9720552" cy="711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r>
              <a:rPr lang="fr-FR" sz="2400" dirty="0"/>
              <a:t>La semaine des Métiers du Soin et de l'Accompagnement 2025 en Grand Est – des actions programmées </a:t>
            </a:r>
          </a:p>
        </p:txBody>
      </p:sp>
      <p:pic>
        <p:nvPicPr>
          <p:cNvPr id="1026" name="Picture 2" descr="📌">
            <a:extLst>
              <a:ext uri="{FF2B5EF4-FFF2-40B4-BE49-F238E27FC236}">
                <a16:creationId xmlns:a16="http://schemas.microsoft.com/office/drawing/2014/main" id="{FF53F7D7-F6B8-0D46-FB4A-2DACEE2E18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304" y="-1830884"/>
            <a:ext cx="147363" cy="14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078F1F5-7C89-FB42-F6DE-848CC20AD917}"/>
              </a:ext>
            </a:extLst>
          </p:cNvPr>
          <p:cNvSpPr txBox="1">
            <a:spLocks/>
          </p:cNvSpPr>
          <p:nvPr/>
        </p:nvSpPr>
        <p:spPr>
          <a:xfrm>
            <a:off x="1959879" y="1406037"/>
            <a:ext cx="9875806" cy="408859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2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2400" b="0" kern="1200" spc="-2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20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Marianne" panose="02000000000000000000" pitchFamily="2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1400" b="1" dirty="0">
              <a:solidFill>
                <a:schemeClr val="bg2"/>
              </a:solidFill>
            </a:endParaRPr>
          </a:p>
          <a:p>
            <a:r>
              <a:rPr lang="fr-FR" sz="1400" dirty="0">
                <a:solidFill>
                  <a:schemeClr val="bg2"/>
                </a:solidFill>
              </a:rPr>
              <a:t> </a:t>
            </a:r>
          </a:p>
          <a:p>
            <a:pPr marL="342900" indent="-342900">
              <a:buFont typeface="Wingdings"/>
              <a:buChar char="Ø"/>
            </a:pPr>
            <a:endParaRPr lang="fr-FR" sz="1400" dirty="0">
              <a:solidFill>
                <a:schemeClr val="bg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400" b="1" dirty="0">
                <a:solidFill>
                  <a:schemeClr val="bg2"/>
                </a:solidFill>
              </a:rPr>
              <a:t>Les dates de la semaine sont du 31 mars au 4 avril avec une possibilité de faire des actions une semaine avant et une semaine après soit du 24 mars au 11 avril 202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fr-FR" sz="1400" b="1" dirty="0">
              <a:solidFill>
                <a:schemeClr val="bg2"/>
              </a:solidFill>
              <a:latin typeface="Marianne Medium" panose="02000000000000000000" pitchFamily="50" charset="0"/>
            </a:endParaRPr>
          </a:p>
          <a:p>
            <a:pPr marL="285750" indent="-285750">
              <a:buFont typeface="Wingdings" panose="02000000000000000000" pitchFamily="2" charset="0"/>
              <a:buChar char="Ø"/>
            </a:pPr>
            <a:r>
              <a:rPr lang="fr-FR" sz="1400" b="1" dirty="0">
                <a:solidFill>
                  <a:schemeClr val="bg2"/>
                </a:solidFill>
                <a:highlight>
                  <a:srgbClr val="FFFF00"/>
                </a:highlight>
                <a:sym typeface="Wingdings"/>
              </a:rPr>
              <a:t>Un </a:t>
            </a:r>
            <a:r>
              <a:rPr lang="fr-FR" sz="1400" b="1" dirty="0">
                <a:solidFill>
                  <a:schemeClr val="bg2"/>
                </a:solidFill>
                <a:highlight>
                  <a:srgbClr val="FFFF00"/>
                </a:highlight>
              </a:rPr>
              <a:t> événement à portée régionale </a:t>
            </a:r>
            <a:r>
              <a:rPr lang="fr-FR" sz="1400" b="1" dirty="0">
                <a:solidFill>
                  <a:schemeClr val="bg2"/>
                </a:solidFill>
              </a:rPr>
              <a:t>: l</a:t>
            </a:r>
            <a:r>
              <a:rPr lang="fr-FR" sz="1400" b="1" dirty="0">
                <a:solidFill>
                  <a:schemeClr val="bg2"/>
                </a:solidFill>
                <a:highlight>
                  <a:srgbClr val="FFFF00"/>
                </a:highlight>
              </a:rPr>
              <a:t>e mardi 1er avril 14h un WEBINAIRE à destination des partenaires (Branches professionnelles, adhérents, OPCO, Organismes de formation,  …) sur l'Offre de Services de France Travail PRO</a:t>
            </a:r>
            <a:r>
              <a:rPr lang="fr-FR" sz="1400" b="1" dirty="0">
                <a:solidFill>
                  <a:schemeClr val="bg2"/>
                </a:solidFill>
              </a:rPr>
              <a:t> </a:t>
            </a:r>
          </a:p>
          <a:p>
            <a:pPr marL="342900" indent="-342900">
              <a:buFont typeface="Wingdings"/>
              <a:buChar char="Ø"/>
            </a:pPr>
            <a:endParaRPr lang="fr-FR" sz="1400" dirty="0">
              <a:solidFill>
                <a:schemeClr val="bg2"/>
              </a:solidFill>
              <a:latin typeface="Marianne Light"/>
            </a:endParaRPr>
          </a:p>
          <a:p>
            <a:pPr marL="342900" indent="-342900">
              <a:buFont typeface="Wingdings"/>
              <a:buChar char="Ø"/>
            </a:pPr>
            <a:endParaRPr lang="fr-FR" sz="1400" b="1" dirty="0">
              <a:solidFill>
                <a:schemeClr val="bg2"/>
              </a:solidFill>
            </a:endParaRPr>
          </a:p>
          <a:p>
            <a:pPr marL="342900" indent="-342900">
              <a:buFont typeface="Wingdings"/>
              <a:buChar char="Ø"/>
            </a:pPr>
            <a:r>
              <a:rPr lang="fr-FR" sz="1400" b="1" dirty="0">
                <a:solidFill>
                  <a:schemeClr val="bg2"/>
                </a:solidFill>
              </a:rPr>
              <a:t>Un évènement à portée nationale : WEBINAIRE  sur un métier en tension (choix du métier ou secteur en cours) à destination des demandeurs d'emploi </a:t>
            </a:r>
          </a:p>
          <a:p>
            <a:pPr marL="342900" indent="-342900">
              <a:buFont typeface="Wingdings"/>
              <a:buChar char="Ø"/>
            </a:pPr>
            <a:endParaRPr lang="fr-FR" sz="1400" b="1" dirty="0">
              <a:solidFill>
                <a:schemeClr val="bg2"/>
              </a:solidFill>
            </a:endParaRPr>
          </a:p>
          <a:p>
            <a:pPr marL="342900" indent="-342900">
              <a:buFont typeface="Wingdings"/>
              <a:buChar char="Ø"/>
            </a:pPr>
            <a:endParaRPr lang="fr-FR" sz="1400" b="1" dirty="0">
              <a:solidFill>
                <a:schemeClr val="bg2"/>
              </a:solidFill>
            </a:endParaRPr>
          </a:p>
          <a:p>
            <a:pPr marL="342900" indent="-342900">
              <a:buFont typeface="Wingdings"/>
              <a:buChar char="Ø"/>
            </a:pPr>
            <a:r>
              <a:rPr lang="fr-FR" sz="1400" b="1" dirty="0">
                <a:solidFill>
                  <a:schemeClr val="bg2"/>
                </a:solidFill>
              </a:rPr>
              <a:t>Des évènements « phare » portés par les Directions Territoriales de France Travail dans les départements des Ardennes, de la Haute Marne et de la Moselle </a:t>
            </a:r>
          </a:p>
          <a:p>
            <a:pPr marL="342900" indent="-342900">
              <a:buFont typeface="Wingdings"/>
              <a:buChar char="Ø"/>
            </a:pPr>
            <a:endParaRPr lang="fr-FR" sz="1400" dirty="0">
              <a:solidFill>
                <a:schemeClr val="bg2"/>
              </a:solidFill>
            </a:endParaRPr>
          </a:p>
          <a:p>
            <a:endParaRPr lang="fr-FR" sz="1400" dirty="0">
              <a:solidFill>
                <a:schemeClr val="bg2"/>
              </a:solidFill>
            </a:endParaRPr>
          </a:p>
          <a:p>
            <a:endParaRPr lang="fr-FR" sz="1400" b="1" dirty="0">
              <a:solidFill>
                <a:schemeClr val="bg2"/>
              </a:solidFill>
            </a:endParaRPr>
          </a:p>
          <a:p>
            <a:endParaRPr lang="fr-FR" sz="1400" b="1" dirty="0">
              <a:solidFill>
                <a:schemeClr val="bg2"/>
              </a:solidFill>
            </a:endParaRPr>
          </a:p>
          <a:p>
            <a:endParaRPr lang="fr-FR" sz="2400" dirty="0"/>
          </a:p>
        </p:txBody>
      </p:sp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9524B55E-6662-F966-F45D-518FDE143472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solidFill>
                  <a:schemeClr val="bg2"/>
                </a:solidFill>
                <a:latin typeface="+mj-lt"/>
                <a:ea typeface="Verdana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42185278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AE4600-8920-F11D-992F-44F452D789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000" y="302050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592181E-C253-E0AC-EBEC-F4227B638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774" y="-177561"/>
            <a:ext cx="4697186" cy="1325563"/>
          </a:xfrm>
        </p:spPr>
        <p:txBody>
          <a:bodyPr/>
          <a:lstStyle/>
          <a:p>
            <a:r>
              <a:rPr lang="fr-FR" dirty="0"/>
              <a:t>Partenaires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727EA68-48D5-B1E1-1544-A2F5552FB2F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2</a:t>
            </a:fld>
            <a:r>
              <a:rPr lang="fr-FR"/>
              <a:t> |</a:t>
            </a:r>
            <a:endParaRPr lang="fr-FR" dirty="0"/>
          </a:p>
        </p:txBody>
      </p:sp>
      <p:pic>
        <p:nvPicPr>
          <p:cNvPr id="12" name="Image 13">
            <a:extLst>
              <a:ext uri="{FF2B5EF4-FFF2-40B4-BE49-F238E27FC236}">
                <a16:creationId xmlns:a16="http://schemas.microsoft.com/office/drawing/2014/main" id="{CA991E35-1271-80B6-FA63-67DBA0DFE6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954" y="2171516"/>
            <a:ext cx="1332778" cy="423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15">
            <a:extLst>
              <a:ext uri="{FF2B5EF4-FFF2-40B4-BE49-F238E27FC236}">
                <a16:creationId xmlns:a16="http://schemas.microsoft.com/office/drawing/2014/main" id="{0CC629D7-4593-3ABB-85FB-DD96821C39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492" y="2094483"/>
            <a:ext cx="1499434" cy="685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 2">
            <a:extLst>
              <a:ext uri="{FF2B5EF4-FFF2-40B4-BE49-F238E27FC236}">
                <a16:creationId xmlns:a16="http://schemas.microsoft.com/office/drawing/2014/main" id="{805E49FE-8AD5-E03F-73FF-8FC73E2455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589" y="1975928"/>
            <a:ext cx="1022935" cy="608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1">
            <a:extLst>
              <a:ext uri="{FF2B5EF4-FFF2-40B4-BE49-F238E27FC236}">
                <a16:creationId xmlns:a16="http://schemas.microsoft.com/office/drawing/2014/main" id="{3940823B-C0A2-01DE-7947-FB9196707E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828" y="4238373"/>
            <a:ext cx="1006889" cy="46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7536E31-B06B-C050-F62A-809DACC1CC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837" y="1255413"/>
            <a:ext cx="1408323" cy="563329"/>
          </a:xfrm>
          <a:prstGeom prst="rect">
            <a:avLst/>
          </a:prstGeom>
        </p:spPr>
      </p:pic>
      <p:pic>
        <p:nvPicPr>
          <p:cNvPr id="17" name="Picture 2" descr="Description : cid:image006.png@01D383B2.3864E4F0">
            <a:extLst>
              <a:ext uri="{FF2B5EF4-FFF2-40B4-BE49-F238E27FC236}">
                <a16:creationId xmlns:a16="http://schemas.microsoft.com/office/drawing/2014/main" id="{57869439-A638-DE9A-9944-F02C6D7C3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6382" y="1224728"/>
            <a:ext cx="1107230" cy="55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A4BD6E5-343E-AAD6-5EB0-8189A80DA2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180" y="2104044"/>
            <a:ext cx="1589082" cy="53941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BA2BD09-EF4C-52E7-E7A2-71C44539B6C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271" y="1935903"/>
            <a:ext cx="1499434" cy="880716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6DC7D07-7855-78AC-FA3B-0F37CE233C8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937" y="3086151"/>
            <a:ext cx="1013976" cy="60925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816D34F5-A172-0316-8150-C31CC682662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5617" y="2892428"/>
            <a:ext cx="1458337" cy="80298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CB8DB52A-662D-8E05-4273-BB2D90AA75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545" y="1198917"/>
            <a:ext cx="1437698" cy="561767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F9B45F91-F71B-B54D-4B3A-2DF4533BEAD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26" y="2280075"/>
            <a:ext cx="1266564" cy="351442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7C48B7F-2016-562A-492D-1FB17E63935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735" y="2965974"/>
            <a:ext cx="949053" cy="949053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E76D6BFF-EEF8-858E-C491-F7D49F43A05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5671" y="1170104"/>
            <a:ext cx="1424323" cy="527289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39DDA576-47BB-B08C-52A4-A619529673B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328" y="2792344"/>
            <a:ext cx="1688700" cy="1193322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19D400F7-B6CF-6C2A-A242-FF9B690DDE4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577" y="3201519"/>
            <a:ext cx="1712765" cy="585561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F557FF20-8F1C-A2F3-4637-20CCA3EAD32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350" y="1140857"/>
            <a:ext cx="1725244" cy="677885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04E63926-EB1F-EA90-E36C-F80113F9AD7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1" y="4247371"/>
            <a:ext cx="1632824" cy="509436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30278B8F-E940-3C4D-73CC-43B2BE0A1B7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08" y="3061706"/>
            <a:ext cx="681872" cy="734588"/>
          </a:xfrm>
          <a:prstGeom prst="rect">
            <a:avLst/>
          </a:prstGeom>
        </p:spPr>
      </p:pic>
      <p:pic>
        <p:nvPicPr>
          <p:cNvPr id="31" name="Image 30" descr="Une image contenant symbole, Police, texte, logo">
            <a:extLst>
              <a:ext uri="{FF2B5EF4-FFF2-40B4-BE49-F238E27FC236}">
                <a16:creationId xmlns:a16="http://schemas.microsoft.com/office/drawing/2014/main" id="{A93BA4BE-7F84-C0E9-F318-533642F7283F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337" y="1280946"/>
            <a:ext cx="1364280" cy="406587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0A5E43CF-A3E7-51C3-B1BC-07F473E7C15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931650" y="3025087"/>
            <a:ext cx="845395" cy="861863"/>
          </a:xfrm>
          <a:prstGeom prst="rect">
            <a:avLst/>
          </a:prstGeom>
        </p:spPr>
      </p:pic>
      <p:sp>
        <p:nvSpPr>
          <p:cNvPr id="34" name="Espace réservé du pied de page 6">
            <a:extLst>
              <a:ext uri="{FF2B5EF4-FFF2-40B4-BE49-F238E27FC236}">
                <a16:creationId xmlns:a16="http://schemas.microsoft.com/office/drawing/2014/main" id="{854704F9-9974-9763-7ABA-631C64E8A0EC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  <a:ea typeface="Verdana"/>
              </a:rPr>
              <a:t>Semaine des métiers du soin et de l’accompagnement – France Travail Grand Est – 20 janvier 2025</a:t>
            </a:r>
            <a:endParaRPr lang="fr-FR" dirty="0"/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4DB615A8-E1C5-8FD2-4A58-9DD66FDE573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972942" y="2045709"/>
            <a:ext cx="1222874" cy="585808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9B6272AD-0635-A4DF-5ABB-2820A4EF62F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968972" y="2991470"/>
            <a:ext cx="1682740" cy="81524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D5EB6DD6-2879-8244-B025-4656F121344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231651" y="4033334"/>
            <a:ext cx="923517" cy="923517"/>
          </a:xfrm>
          <a:prstGeom prst="rect">
            <a:avLst/>
          </a:prstGeom>
        </p:spPr>
      </p:pic>
      <p:pic>
        <p:nvPicPr>
          <p:cNvPr id="1030" name="Picture 6" descr="Traits d'Union - Les webinaires du mois de janvier - UNML">
            <a:extLst>
              <a:ext uri="{FF2B5EF4-FFF2-40B4-BE49-F238E27FC236}">
                <a16:creationId xmlns:a16="http://schemas.microsoft.com/office/drawing/2014/main" id="{571073ED-B43A-0CC0-DC58-9AB5A2BA2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429" y="3949420"/>
            <a:ext cx="1204965" cy="84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harte graphique Cheops Cap emploi - Cheops national">
            <a:extLst>
              <a:ext uri="{FF2B5EF4-FFF2-40B4-BE49-F238E27FC236}">
                <a16:creationId xmlns:a16="http://schemas.microsoft.com/office/drawing/2014/main" id="{FBE59F41-CEF7-9348-E2E9-C9F9F3BA7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2057" y="4144446"/>
            <a:ext cx="884325" cy="559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34EB2217-A5AB-BCA0-7235-3804E5BF1E2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096125" y="1315198"/>
            <a:ext cx="806888" cy="463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5494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AE4600-8920-F11D-992F-44F452D789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000" y="302050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592181E-C253-E0AC-EBEC-F4227B638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774" y="-177561"/>
            <a:ext cx="4697186" cy="1325563"/>
          </a:xfrm>
        </p:spPr>
        <p:txBody>
          <a:bodyPr/>
          <a:lstStyle/>
          <a:p>
            <a:r>
              <a:rPr lang="fr-FR" dirty="0"/>
              <a:t>Partenaires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727EA68-48D5-B1E1-1544-A2F5552FB2F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3</a:t>
            </a:fld>
            <a:r>
              <a:rPr lang="fr-FR"/>
              <a:t> |</a:t>
            </a:r>
            <a:endParaRPr lang="fr-FR" dirty="0"/>
          </a:p>
        </p:txBody>
      </p:sp>
      <p:pic>
        <p:nvPicPr>
          <p:cNvPr id="12" name="Image 13">
            <a:extLst>
              <a:ext uri="{FF2B5EF4-FFF2-40B4-BE49-F238E27FC236}">
                <a16:creationId xmlns:a16="http://schemas.microsoft.com/office/drawing/2014/main" id="{CA991E35-1271-80B6-FA63-67DBA0DFE6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954" y="2171516"/>
            <a:ext cx="1332778" cy="423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15">
            <a:extLst>
              <a:ext uri="{FF2B5EF4-FFF2-40B4-BE49-F238E27FC236}">
                <a16:creationId xmlns:a16="http://schemas.microsoft.com/office/drawing/2014/main" id="{0CC629D7-4593-3ABB-85FB-DD96821C39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492" y="2094483"/>
            <a:ext cx="1499434" cy="685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 2">
            <a:extLst>
              <a:ext uri="{FF2B5EF4-FFF2-40B4-BE49-F238E27FC236}">
                <a16:creationId xmlns:a16="http://schemas.microsoft.com/office/drawing/2014/main" id="{805E49FE-8AD5-E03F-73FF-8FC73E2455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589" y="1975928"/>
            <a:ext cx="1022935" cy="608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1">
            <a:extLst>
              <a:ext uri="{FF2B5EF4-FFF2-40B4-BE49-F238E27FC236}">
                <a16:creationId xmlns:a16="http://schemas.microsoft.com/office/drawing/2014/main" id="{3940823B-C0A2-01DE-7947-FB9196707E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828" y="4238373"/>
            <a:ext cx="1006889" cy="46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C7536E31-B06B-C050-F62A-809DACC1CC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837" y="1255413"/>
            <a:ext cx="1408323" cy="563329"/>
          </a:xfrm>
          <a:prstGeom prst="rect">
            <a:avLst/>
          </a:prstGeom>
        </p:spPr>
      </p:pic>
      <p:pic>
        <p:nvPicPr>
          <p:cNvPr id="17" name="Picture 2" descr="Description : cid:image006.png@01D383B2.3864E4F0">
            <a:extLst>
              <a:ext uri="{FF2B5EF4-FFF2-40B4-BE49-F238E27FC236}">
                <a16:creationId xmlns:a16="http://schemas.microsoft.com/office/drawing/2014/main" id="{57869439-A638-DE9A-9944-F02C6D7C3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6382" y="1224728"/>
            <a:ext cx="1107230" cy="55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A4BD6E5-343E-AAD6-5EB0-8189A80DA2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2180" y="2104044"/>
            <a:ext cx="1589082" cy="53941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BBA2BD09-EF4C-52E7-E7A2-71C44539B6C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271" y="1935903"/>
            <a:ext cx="1499434" cy="880716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A6DC7D07-7855-78AC-FA3B-0F37CE233C8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937" y="3086151"/>
            <a:ext cx="1013976" cy="60925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816D34F5-A172-0316-8150-C31CC682662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5617" y="2892428"/>
            <a:ext cx="1458337" cy="80298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CB8DB52A-662D-8E05-4273-BB2D90AA75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545" y="1198917"/>
            <a:ext cx="1437698" cy="561767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F9B45F91-F71B-B54D-4B3A-2DF4533BEAD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26" y="2280075"/>
            <a:ext cx="1266564" cy="351442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67C48B7F-2016-562A-492D-1FB17E63935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6735" y="2965974"/>
            <a:ext cx="949053" cy="949053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E76D6BFF-EEF8-858E-C491-F7D49F43A05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5671" y="1170104"/>
            <a:ext cx="1424323" cy="527289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39DDA576-47BB-B08C-52A4-A619529673B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328" y="2792344"/>
            <a:ext cx="1688700" cy="1193322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19D400F7-B6CF-6C2A-A242-FF9B690DDE4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577" y="3201519"/>
            <a:ext cx="1712765" cy="585561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F557FF20-8F1C-A2F3-4637-20CCA3EAD32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350" y="1140857"/>
            <a:ext cx="1725244" cy="677885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04E63926-EB1F-EA90-E36C-F80113F9AD7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1" y="4247371"/>
            <a:ext cx="1632824" cy="509436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30278B8F-E940-3C4D-73CC-43B2BE0A1B77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08" y="3061706"/>
            <a:ext cx="681872" cy="734588"/>
          </a:xfrm>
          <a:prstGeom prst="rect">
            <a:avLst/>
          </a:prstGeom>
        </p:spPr>
      </p:pic>
      <p:pic>
        <p:nvPicPr>
          <p:cNvPr id="31" name="Image 30" descr="Une image contenant symbole, Police, texte, logo">
            <a:extLst>
              <a:ext uri="{FF2B5EF4-FFF2-40B4-BE49-F238E27FC236}">
                <a16:creationId xmlns:a16="http://schemas.microsoft.com/office/drawing/2014/main" id="{A93BA4BE-7F84-C0E9-F318-533642F7283F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337" y="1280946"/>
            <a:ext cx="1364280" cy="406587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0A5E43CF-A3E7-51C3-B1BC-07F473E7C15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931650" y="3025087"/>
            <a:ext cx="845395" cy="861863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4DB615A8-E1C5-8FD2-4A58-9DD66FDE573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972942" y="2045709"/>
            <a:ext cx="1222874" cy="585808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9B6272AD-0635-A4DF-5ABB-2820A4EF62F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968972" y="2991470"/>
            <a:ext cx="1682740" cy="81524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D5EB6DD6-2879-8244-B025-4656F121344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231651" y="4033334"/>
            <a:ext cx="923517" cy="923517"/>
          </a:xfrm>
          <a:prstGeom prst="rect">
            <a:avLst/>
          </a:prstGeom>
        </p:spPr>
      </p:pic>
      <p:pic>
        <p:nvPicPr>
          <p:cNvPr id="1030" name="Picture 6" descr="Traits d'Union - Les webinaires du mois de janvier - UNML">
            <a:extLst>
              <a:ext uri="{FF2B5EF4-FFF2-40B4-BE49-F238E27FC236}">
                <a16:creationId xmlns:a16="http://schemas.microsoft.com/office/drawing/2014/main" id="{571073ED-B43A-0CC0-DC58-9AB5A2BA2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429" y="3949420"/>
            <a:ext cx="1204965" cy="849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harte graphique Cheops Cap emploi - Cheops national">
            <a:extLst>
              <a:ext uri="{FF2B5EF4-FFF2-40B4-BE49-F238E27FC236}">
                <a16:creationId xmlns:a16="http://schemas.microsoft.com/office/drawing/2014/main" id="{FBE59F41-CEF7-9348-E2E9-C9F9F3BA7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2057" y="4144446"/>
            <a:ext cx="884325" cy="559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34EB2217-A5AB-BCA0-7235-3804E5BF1E2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096125" y="1315198"/>
            <a:ext cx="806888" cy="46341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6" name="Encre 5">
                <a:extLst>
                  <a:ext uri="{FF2B5EF4-FFF2-40B4-BE49-F238E27FC236}">
                    <a16:creationId xmlns:a16="http://schemas.microsoft.com/office/drawing/2014/main" id="{FF261940-EBE4-E571-3808-7FFBEC68D72E}"/>
                  </a:ext>
                </a:extLst>
              </p14:cNvPr>
              <p14:cNvContentPartPr/>
              <p14:nvPr/>
            </p14:nvContentPartPr>
            <p14:xfrm>
              <a:off x="5121382" y="1153297"/>
              <a:ext cx="1464727" cy="587651"/>
            </p14:xfrm>
          </p:contentPart>
        </mc:Choice>
        <mc:Fallback xmlns="">
          <p:pic>
            <p:nvPicPr>
              <p:cNvPr id="6" name="Encre 5">
                <a:extLst>
                  <a:ext uri="{FF2B5EF4-FFF2-40B4-BE49-F238E27FC236}">
                    <a16:creationId xmlns:a16="http://schemas.microsoft.com/office/drawing/2014/main" id="{FF261940-EBE4-E571-3808-7FFBEC68D72E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5067399" y="1045699"/>
                <a:ext cx="1572332" cy="80320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7" name="Encre 6">
                <a:extLst>
                  <a:ext uri="{FF2B5EF4-FFF2-40B4-BE49-F238E27FC236}">
                    <a16:creationId xmlns:a16="http://schemas.microsoft.com/office/drawing/2014/main" id="{9B08114A-AB8F-F908-B9C3-38CF90566651}"/>
                  </a:ext>
                </a:extLst>
              </p14:cNvPr>
              <p14:cNvContentPartPr/>
              <p14:nvPr/>
            </p14:nvContentPartPr>
            <p14:xfrm>
              <a:off x="477907" y="2131106"/>
              <a:ext cx="1647250" cy="619023"/>
            </p14:xfrm>
          </p:contentPart>
        </mc:Choice>
        <mc:Fallback xmlns="">
          <p:pic>
            <p:nvPicPr>
              <p:cNvPr id="7" name="Encre 6">
                <a:extLst>
                  <a:ext uri="{FF2B5EF4-FFF2-40B4-BE49-F238E27FC236}">
                    <a16:creationId xmlns:a16="http://schemas.microsoft.com/office/drawing/2014/main" id="{9B08114A-AB8F-F908-B9C3-38CF90566651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423922" y="2023559"/>
                <a:ext cx="1754859" cy="834476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4">
            <p14:nvContentPartPr>
              <p14:cNvPr id="8" name="Encre 7">
                <a:extLst>
                  <a:ext uri="{FF2B5EF4-FFF2-40B4-BE49-F238E27FC236}">
                    <a16:creationId xmlns:a16="http://schemas.microsoft.com/office/drawing/2014/main" id="{6671C2DA-E2C1-487E-A830-2EC86F1D30C5}"/>
                  </a:ext>
                </a:extLst>
              </p14:cNvPr>
              <p14:cNvContentPartPr/>
              <p14:nvPr/>
            </p14:nvContentPartPr>
            <p14:xfrm>
              <a:off x="7593810" y="1925305"/>
              <a:ext cx="1175408" cy="711813"/>
            </p14:xfrm>
          </p:contentPart>
        </mc:Choice>
        <mc:Fallback xmlns="">
          <p:pic>
            <p:nvPicPr>
              <p:cNvPr id="8" name="Encre 7">
                <a:extLst>
                  <a:ext uri="{FF2B5EF4-FFF2-40B4-BE49-F238E27FC236}">
                    <a16:creationId xmlns:a16="http://schemas.microsoft.com/office/drawing/2014/main" id="{6671C2DA-E2C1-487E-A830-2EC86F1D30C5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7540186" y="1817345"/>
                <a:ext cx="1283016" cy="927372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6">
            <p14:nvContentPartPr>
              <p14:cNvPr id="9" name="Encre 8">
                <a:extLst>
                  <a:ext uri="{FF2B5EF4-FFF2-40B4-BE49-F238E27FC236}">
                    <a16:creationId xmlns:a16="http://schemas.microsoft.com/office/drawing/2014/main" id="{DDE28B94-B1F6-FE88-37E7-34DC440ED507}"/>
                  </a:ext>
                </a:extLst>
              </p14:cNvPr>
              <p14:cNvContentPartPr/>
              <p14:nvPr/>
            </p14:nvContentPartPr>
            <p14:xfrm>
              <a:off x="7706739" y="2902863"/>
              <a:ext cx="1319704" cy="856703"/>
            </p14:xfrm>
          </p:contentPart>
        </mc:Choice>
        <mc:Fallback xmlns="">
          <p:pic>
            <p:nvPicPr>
              <p:cNvPr id="9" name="Encre 8">
                <a:extLst>
                  <a:ext uri="{FF2B5EF4-FFF2-40B4-BE49-F238E27FC236}">
                    <a16:creationId xmlns:a16="http://schemas.microsoft.com/office/drawing/2014/main" id="{DDE28B94-B1F6-FE88-37E7-34DC440ED507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7652756" y="2795280"/>
                <a:ext cx="1427310" cy="10722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8">
            <p14:nvContentPartPr>
              <p14:cNvPr id="11" name="Encre 10">
                <a:extLst>
                  <a:ext uri="{FF2B5EF4-FFF2-40B4-BE49-F238E27FC236}">
                    <a16:creationId xmlns:a16="http://schemas.microsoft.com/office/drawing/2014/main" id="{599D974B-2BC3-6E8F-F521-46C273B2CCF9}"/>
                  </a:ext>
                </a:extLst>
              </p14:cNvPr>
              <p14:cNvContentPartPr/>
              <p14:nvPr/>
            </p14:nvContentPartPr>
            <p14:xfrm>
              <a:off x="3113684" y="4025727"/>
              <a:ext cx="1310294" cy="742896"/>
            </p14:xfrm>
          </p:contentPart>
        </mc:Choice>
        <mc:Fallback xmlns="">
          <p:pic>
            <p:nvPicPr>
              <p:cNvPr id="11" name="Encre 10">
                <a:extLst>
                  <a:ext uri="{FF2B5EF4-FFF2-40B4-BE49-F238E27FC236}">
                    <a16:creationId xmlns:a16="http://schemas.microsoft.com/office/drawing/2014/main" id="{599D974B-2BC3-6E8F-F521-46C273B2CCF9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3059703" y="3918160"/>
                <a:ext cx="1417896" cy="95839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0">
            <p14:nvContentPartPr>
              <p14:cNvPr id="32" name="Encre 31">
                <a:extLst>
                  <a:ext uri="{FF2B5EF4-FFF2-40B4-BE49-F238E27FC236}">
                    <a16:creationId xmlns:a16="http://schemas.microsoft.com/office/drawing/2014/main" id="{A0818F83-FD76-A817-1C40-85B111567A6D}"/>
                  </a:ext>
                </a:extLst>
              </p14:cNvPr>
              <p14:cNvContentPartPr/>
              <p14:nvPr/>
            </p14:nvContentPartPr>
            <p14:xfrm>
              <a:off x="3875932" y="2048433"/>
              <a:ext cx="1691127" cy="680900"/>
            </p14:xfrm>
          </p:contentPart>
        </mc:Choice>
        <mc:Fallback xmlns="">
          <p:pic>
            <p:nvPicPr>
              <p:cNvPr id="32" name="Encre 31">
                <a:extLst>
                  <a:ext uri="{FF2B5EF4-FFF2-40B4-BE49-F238E27FC236}">
                    <a16:creationId xmlns:a16="http://schemas.microsoft.com/office/drawing/2014/main" id="{A0818F83-FD76-A817-1C40-85B111567A6D}"/>
                  </a:ext>
                </a:extLst>
              </p:cNvPr>
              <p:cNvPicPr/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3821948" y="1940828"/>
                <a:ext cx="1798734" cy="89647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2">
            <p14:nvContentPartPr>
              <p14:cNvPr id="39" name="Encre 38">
                <a:extLst>
                  <a:ext uri="{FF2B5EF4-FFF2-40B4-BE49-F238E27FC236}">
                    <a16:creationId xmlns:a16="http://schemas.microsoft.com/office/drawing/2014/main" id="{F63B4E52-5B34-D813-C0A8-2ED875F2B4EC}"/>
                  </a:ext>
                </a:extLst>
              </p14:cNvPr>
              <p14:cNvContentPartPr/>
              <p14:nvPr/>
            </p14:nvContentPartPr>
            <p14:xfrm>
              <a:off x="375448" y="1142101"/>
              <a:ext cx="1742249" cy="701564"/>
            </p14:xfrm>
          </p:contentPart>
        </mc:Choice>
        <mc:Fallback xmlns="">
          <p:pic>
            <p:nvPicPr>
              <p:cNvPr id="39" name="Encre 38">
                <a:extLst>
                  <a:ext uri="{FF2B5EF4-FFF2-40B4-BE49-F238E27FC236}">
                    <a16:creationId xmlns:a16="http://schemas.microsoft.com/office/drawing/2014/main" id="{F63B4E52-5B34-D813-C0A8-2ED875F2B4EC}"/>
                  </a:ext>
                </a:extLst>
              </p:cNvPr>
              <p:cNvPicPr/>
              <p:nvPr/>
            </p:nvPicPr>
            <p:blipFill>
              <a:blip r:embed="rId43"/>
              <a:stretch>
                <a:fillRect/>
              </a:stretch>
            </p:blipFill>
            <p:spPr>
              <a:xfrm>
                <a:off x="321824" y="1034168"/>
                <a:ext cx="1849857" cy="917070"/>
              </a:xfrm>
              <a:prstGeom prst="rect">
                <a:avLst/>
              </a:prstGeom>
            </p:spPr>
          </p:pic>
        </mc:Fallback>
      </mc:AlternateContent>
      <p:sp>
        <p:nvSpPr>
          <p:cNvPr id="42" name="ZoneTexte 41">
            <a:extLst>
              <a:ext uri="{FF2B5EF4-FFF2-40B4-BE49-F238E27FC236}">
                <a16:creationId xmlns:a16="http://schemas.microsoft.com/office/drawing/2014/main" id="{C5A8FCE0-D9A4-1F3B-507B-A8F65E8D2CC5}"/>
              </a:ext>
            </a:extLst>
          </p:cNvPr>
          <p:cNvSpPr txBox="1"/>
          <p:nvPr/>
        </p:nvSpPr>
        <p:spPr>
          <a:xfrm>
            <a:off x="2192397" y="5311160"/>
            <a:ext cx="6051144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dirty="0">
                <a:ea typeface="Verdana"/>
              </a:rPr>
              <a:t>Conventions nationales en cours avec France Travail</a:t>
            </a:r>
          </a:p>
          <a:p>
            <a:endParaRPr lang="fr-FR" dirty="0">
              <a:ea typeface="Verdana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4">
            <p14:nvContentPartPr>
              <p14:cNvPr id="47" name="Encre 46">
                <a:extLst>
                  <a:ext uri="{FF2B5EF4-FFF2-40B4-BE49-F238E27FC236}">
                    <a16:creationId xmlns:a16="http://schemas.microsoft.com/office/drawing/2014/main" id="{3F22B5CA-064E-5D47-BBBD-A1AD24806D41}"/>
                  </a:ext>
                </a:extLst>
              </p14:cNvPr>
              <p14:cNvContentPartPr/>
              <p14:nvPr/>
            </p14:nvContentPartPr>
            <p14:xfrm>
              <a:off x="1013669" y="5240841"/>
              <a:ext cx="1031778" cy="402504"/>
            </p14:xfrm>
          </p:contentPart>
        </mc:Choice>
        <mc:Fallback xmlns="">
          <p:pic>
            <p:nvPicPr>
              <p:cNvPr id="47" name="Encre 46">
                <a:extLst>
                  <a:ext uri="{FF2B5EF4-FFF2-40B4-BE49-F238E27FC236}">
                    <a16:creationId xmlns:a16="http://schemas.microsoft.com/office/drawing/2014/main" id="{3F22B5CA-064E-5D47-BBBD-A1AD24806D41}"/>
                  </a:ext>
                </a:extLst>
              </p:cNvPr>
              <p:cNvPicPr/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959687" y="5132931"/>
                <a:ext cx="1139382" cy="617964"/>
              </a:xfrm>
              <a:prstGeom prst="rect">
                <a:avLst/>
              </a:prstGeom>
            </p:spPr>
          </p:pic>
        </mc:Fallback>
      </mc:AlternateContent>
      <p:sp>
        <p:nvSpPr>
          <p:cNvPr id="40" name="Espace réservé du pied de page 6">
            <a:extLst>
              <a:ext uri="{FF2B5EF4-FFF2-40B4-BE49-F238E27FC236}">
                <a16:creationId xmlns:a16="http://schemas.microsoft.com/office/drawing/2014/main" id="{6078C7AD-2DD0-13ED-F0A6-D4BBB516D3F6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  <a:ea typeface="Verdana"/>
              </a:rPr>
              <a:t>Semaine des métiers du soin et de l’accompagnement – France Travail Grand Est – 20 janvier 2025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86286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13104-71DC-B324-4647-39F90F006D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e 54">
            <a:extLst>
              <a:ext uri="{FF2B5EF4-FFF2-40B4-BE49-F238E27FC236}">
                <a16:creationId xmlns:a16="http://schemas.microsoft.com/office/drawing/2014/main" id="{5E6CD47E-ED1D-7F29-9AF1-59BA5F614310}"/>
              </a:ext>
            </a:extLst>
          </p:cNvPr>
          <p:cNvGrpSpPr/>
          <p:nvPr/>
        </p:nvGrpSpPr>
        <p:grpSpPr>
          <a:xfrm>
            <a:off x="4715027" y="1707148"/>
            <a:ext cx="869040" cy="786371"/>
            <a:chOff x="4875142" y="1677350"/>
            <a:chExt cx="869040" cy="786371"/>
          </a:xfrm>
        </p:grpSpPr>
        <p:sp>
          <p:nvSpPr>
            <p:cNvPr id="47" name="Bulle narrative : ronde 46">
              <a:extLst>
                <a:ext uri="{FF2B5EF4-FFF2-40B4-BE49-F238E27FC236}">
                  <a16:creationId xmlns:a16="http://schemas.microsoft.com/office/drawing/2014/main" id="{11D786D2-A883-BEA6-803D-3EC8B3919184}"/>
                </a:ext>
              </a:extLst>
            </p:cNvPr>
            <p:cNvSpPr/>
            <p:nvPr/>
          </p:nvSpPr>
          <p:spPr>
            <a:xfrm>
              <a:off x="4875142" y="1677350"/>
              <a:ext cx="869040" cy="786371"/>
            </a:xfrm>
            <a:prstGeom prst="wedgeEllipseCallout">
              <a:avLst>
                <a:gd name="adj1" fmla="val 884"/>
                <a:gd name="adj2" fmla="val 5914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49" name="Organigramme : Connecteur 48">
              <a:extLst>
                <a:ext uri="{FF2B5EF4-FFF2-40B4-BE49-F238E27FC236}">
                  <a16:creationId xmlns:a16="http://schemas.microsoft.com/office/drawing/2014/main" id="{99DA6E16-C38B-8E8E-F0BA-B574DCFB18C4}"/>
                </a:ext>
              </a:extLst>
            </p:cNvPr>
            <p:cNvSpPr/>
            <p:nvPr/>
          </p:nvSpPr>
          <p:spPr>
            <a:xfrm>
              <a:off x="4964932" y="1748805"/>
              <a:ext cx="675409" cy="640831"/>
            </a:xfrm>
            <a:prstGeom prst="flowChartConnector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85EC6E0-38B2-5377-28BC-8081AF8E32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650" y="431111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98357D0-506B-0230-1E18-703F55818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830" y="-37995"/>
            <a:ext cx="8764459" cy="1325563"/>
          </a:xfrm>
        </p:spPr>
        <p:txBody>
          <a:bodyPr/>
          <a:lstStyle/>
          <a:p>
            <a:r>
              <a:rPr lang="fr-FR" dirty="0"/>
              <a:t>Les étapes clés: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B370FFF7-C8CF-3309-9D29-6C723174BE6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4</a:t>
            </a:fld>
            <a:r>
              <a:rPr lang="fr-FR"/>
              <a:t> |</a:t>
            </a:r>
            <a:endParaRPr lang="fr-FR" dirty="0"/>
          </a:p>
        </p:txBody>
      </p:sp>
      <p:sp>
        <p:nvSpPr>
          <p:cNvPr id="11" name="Espace réservé du pied de page 6">
            <a:extLst>
              <a:ext uri="{FF2B5EF4-FFF2-40B4-BE49-F238E27FC236}">
                <a16:creationId xmlns:a16="http://schemas.microsoft.com/office/drawing/2014/main" id="{E04913C2-C6DB-FE53-D02E-C81CFFE132E2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  <a:ea typeface="Verdana"/>
              </a:rPr>
              <a:t>Semaine des métiers du soin et de l’accompagnement – France Travail Grand Est – 20 janvier 2025</a:t>
            </a:r>
            <a:endParaRPr lang="fr-FR" dirty="0"/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4CF2F40-FCE0-4CDD-AB3B-1C5C98814F1C}"/>
              </a:ext>
            </a:extLst>
          </p:cNvPr>
          <p:cNvSpPr txBox="1"/>
          <p:nvPr/>
        </p:nvSpPr>
        <p:spPr>
          <a:xfrm>
            <a:off x="96909" y="3827848"/>
            <a:ext cx="19356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Webinaire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Présentation Quizz Santé</a:t>
            </a:r>
          </a:p>
          <a:p>
            <a:pPr algn="ctr"/>
            <a:r>
              <a:rPr lang="fr-FR" sz="1200" dirty="0" err="1">
                <a:latin typeface="Marianne" panose="02000000000000000000" pitchFamily="2" charset="0"/>
              </a:rPr>
              <a:t>Opco</a:t>
            </a:r>
            <a:r>
              <a:rPr lang="fr-FR" sz="1200" dirty="0">
                <a:latin typeface="Marianne" panose="02000000000000000000" pitchFamily="2" charset="0"/>
              </a:rPr>
              <a:t> Santé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0ED3CF95-A5C8-0DA2-5048-2CDA0CECF96A}"/>
              </a:ext>
            </a:extLst>
          </p:cNvPr>
          <p:cNvSpPr txBox="1"/>
          <p:nvPr/>
        </p:nvSpPr>
        <p:spPr>
          <a:xfrm>
            <a:off x="340671" y="3526863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18 décembre 2024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5DFEED3-ECA2-4BB6-880A-196FEABA014F}"/>
              </a:ext>
            </a:extLst>
          </p:cNvPr>
          <p:cNvSpPr txBox="1"/>
          <p:nvPr/>
        </p:nvSpPr>
        <p:spPr>
          <a:xfrm>
            <a:off x="1582484" y="4935544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7 janvier 2025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CCB0BE4E-6F72-DCDF-AD42-DC878AD8C9D3}"/>
              </a:ext>
            </a:extLst>
          </p:cNvPr>
          <p:cNvSpPr txBox="1"/>
          <p:nvPr/>
        </p:nvSpPr>
        <p:spPr>
          <a:xfrm>
            <a:off x="1767320" y="5216456"/>
            <a:ext cx="124097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Webinaire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de lancement national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SMSA 2025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5C2777F9-65E1-D1B0-15F8-74A769B4B356}"/>
              </a:ext>
            </a:extLst>
          </p:cNvPr>
          <p:cNvSpPr txBox="1"/>
          <p:nvPr/>
        </p:nvSpPr>
        <p:spPr>
          <a:xfrm>
            <a:off x="3125468" y="3830355"/>
            <a:ext cx="154049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Journées nationales Partenaires -Référents sectoriels Santé Social - Paris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2D7852FD-8C5D-FCEE-A632-34B41B5E9D81}"/>
              </a:ext>
            </a:extLst>
          </p:cNvPr>
          <p:cNvSpPr txBox="1"/>
          <p:nvPr/>
        </p:nvSpPr>
        <p:spPr>
          <a:xfrm>
            <a:off x="3090392" y="3508982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28 &amp; 29 Janvier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5DFD308-4531-1CD9-0C95-F1A9329FA6D1}"/>
              </a:ext>
            </a:extLst>
          </p:cNvPr>
          <p:cNvSpPr txBox="1"/>
          <p:nvPr/>
        </p:nvSpPr>
        <p:spPr>
          <a:xfrm>
            <a:off x="4492130" y="5465868"/>
            <a:ext cx="14697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2ième Copil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SMSA 2025 – Kit de communication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55A17FA4-CF3E-5C0C-8567-AB084470ED5E}"/>
              </a:ext>
            </a:extLst>
          </p:cNvPr>
          <p:cNvSpPr txBox="1"/>
          <p:nvPr/>
        </p:nvSpPr>
        <p:spPr>
          <a:xfrm>
            <a:off x="4367647" y="4935910"/>
            <a:ext cx="16106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Mi février – Début mars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3258EBB9-A02A-AD8F-872B-382957764567}"/>
              </a:ext>
            </a:extLst>
          </p:cNvPr>
          <p:cNvSpPr txBox="1"/>
          <p:nvPr/>
        </p:nvSpPr>
        <p:spPr>
          <a:xfrm>
            <a:off x="5930906" y="3993579"/>
            <a:ext cx="12545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Remontée des actions phares en région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25505C3F-E456-E92D-5A0A-C039A7B59CB8}"/>
              </a:ext>
            </a:extLst>
          </p:cNvPr>
          <p:cNvSpPr txBox="1"/>
          <p:nvPr/>
        </p:nvSpPr>
        <p:spPr>
          <a:xfrm>
            <a:off x="5715702" y="3531870"/>
            <a:ext cx="16106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Fin février – Début mars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FC5A5CDE-6556-3C04-EE43-863175C3BF96}"/>
              </a:ext>
            </a:extLst>
          </p:cNvPr>
          <p:cNvSpPr txBox="1"/>
          <p:nvPr/>
        </p:nvSpPr>
        <p:spPr>
          <a:xfrm>
            <a:off x="7261968" y="5251786"/>
            <a:ext cx="124097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Lancement communication à l’externe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5C122C71-0A7C-B3B6-F110-90A53D65492F}"/>
              </a:ext>
            </a:extLst>
          </p:cNvPr>
          <p:cNvSpPr txBox="1"/>
          <p:nvPr/>
        </p:nvSpPr>
        <p:spPr>
          <a:xfrm>
            <a:off x="7014371" y="4950869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Courant mars 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9AD341C0-2F42-3711-5D51-8BBB75F75579}"/>
              </a:ext>
            </a:extLst>
          </p:cNvPr>
          <p:cNvSpPr txBox="1"/>
          <p:nvPr/>
        </p:nvSpPr>
        <p:spPr>
          <a:xfrm>
            <a:off x="9579071" y="4917748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31 mars au 4 avril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325E8CF8-41D9-7427-E2AB-BFC4E22E25F9}"/>
              </a:ext>
            </a:extLst>
          </p:cNvPr>
          <p:cNvSpPr txBox="1"/>
          <p:nvPr/>
        </p:nvSpPr>
        <p:spPr>
          <a:xfrm>
            <a:off x="9459647" y="5218167"/>
            <a:ext cx="184949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Semaine des métiers du soin et de l’accompagnemen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C64A48EE-BCDC-1B3A-5CA1-5FD10E222490}"/>
              </a:ext>
            </a:extLst>
          </p:cNvPr>
          <p:cNvSpPr txBox="1"/>
          <p:nvPr/>
        </p:nvSpPr>
        <p:spPr>
          <a:xfrm>
            <a:off x="10784831" y="3786931"/>
            <a:ext cx="16106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Bilan avec 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les régions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B7875214-0CA9-4FB3-2C8D-547E2DA314B7}"/>
              </a:ext>
            </a:extLst>
          </p:cNvPr>
          <p:cNvSpPr txBox="1"/>
          <p:nvPr/>
        </p:nvSpPr>
        <p:spPr>
          <a:xfrm>
            <a:off x="10760013" y="3508981"/>
            <a:ext cx="16106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Juin</a:t>
            </a:r>
          </a:p>
        </p:txBody>
      </p:sp>
      <p:sp>
        <p:nvSpPr>
          <p:cNvPr id="43" name="Forme libre : forme 42">
            <a:extLst>
              <a:ext uri="{FF2B5EF4-FFF2-40B4-BE49-F238E27FC236}">
                <a16:creationId xmlns:a16="http://schemas.microsoft.com/office/drawing/2014/main" id="{57ECA010-375F-F167-C110-F4356BB3717E}"/>
              </a:ext>
            </a:extLst>
          </p:cNvPr>
          <p:cNvSpPr/>
          <p:nvPr/>
        </p:nvSpPr>
        <p:spPr>
          <a:xfrm>
            <a:off x="391886" y="3129071"/>
            <a:ext cx="11388828" cy="1545878"/>
          </a:xfrm>
          <a:custGeom>
            <a:avLst/>
            <a:gdLst>
              <a:gd name="connsiteX0" fmla="*/ 0 w 11388828"/>
              <a:gd name="connsiteY0" fmla="*/ 1302970 h 1545878"/>
              <a:gd name="connsiteX1" fmla="*/ 177281 w 11388828"/>
              <a:gd name="connsiteY1" fmla="*/ 481876 h 1545878"/>
              <a:gd name="connsiteX2" fmla="*/ 671804 w 11388828"/>
              <a:gd name="connsiteY2" fmla="*/ 1163011 h 1545878"/>
              <a:gd name="connsiteX3" fmla="*/ 1362269 w 11388828"/>
              <a:gd name="connsiteY3" fmla="*/ 379239 h 1545878"/>
              <a:gd name="connsiteX4" fmla="*/ 2556587 w 11388828"/>
              <a:gd name="connsiteY4" fmla="*/ 1545566 h 1545878"/>
              <a:gd name="connsiteX5" fmla="*/ 4002832 w 11388828"/>
              <a:gd name="connsiteY5" fmla="*/ 248611 h 1545878"/>
              <a:gd name="connsiteX6" fmla="*/ 5542383 w 11388828"/>
              <a:gd name="connsiteY6" fmla="*/ 1274978 h 1545878"/>
              <a:gd name="connsiteX7" fmla="*/ 6904653 w 11388828"/>
              <a:gd name="connsiteY7" fmla="*/ 34007 h 1545878"/>
              <a:gd name="connsiteX8" fmla="*/ 8481526 w 11388828"/>
              <a:gd name="connsiteY8" fmla="*/ 1442929 h 1545878"/>
              <a:gd name="connsiteX9" fmla="*/ 10002416 w 11388828"/>
              <a:gd name="connsiteY9" fmla="*/ 34007 h 1545878"/>
              <a:gd name="connsiteX10" fmla="*/ 11103428 w 11388828"/>
              <a:gd name="connsiteY10" fmla="*/ 435223 h 1545878"/>
              <a:gd name="connsiteX11" fmla="*/ 11383347 w 11388828"/>
              <a:gd name="connsiteY11" fmla="*/ 416562 h 1545878"/>
              <a:gd name="connsiteX12" fmla="*/ 11262049 w 11388828"/>
              <a:gd name="connsiteY12" fmla="*/ 463215 h 1545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388828" h="1545878">
                <a:moveTo>
                  <a:pt x="0" y="1302970"/>
                </a:moveTo>
                <a:cubicBezTo>
                  <a:pt x="32657" y="904086"/>
                  <a:pt x="65314" y="505202"/>
                  <a:pt x="177281" y="481876"/>
                </a:cubicBezTo>
                <a:cubicBezTo>
                  <a:pt x="289248" y="458550"/>
                  <a:pt x="474306" y="1180117"/>
                  <a:pt x="671804" y="1163011"/>
                </a:cubicBezTo>
                <a:cubicBezTo>
                  <a:pt x="869302" y="1145905"/>
                  <a:pt x="1048139" y="315480"/>
                  <a:pt x="1362269" y="379239"/>
                </a:cubicBezTo>
                <a:cubicBezTo>
                  <a:pt x="1676399" y="442998"/>
                  <a:pt x="2116493" y="1567337"/>
                  <a:pt x="2556587" y="1545566"/>
                </a:cubicBezTo>
                <a:cubicBezTo>
                  <a:pt x="2996681" y="1523795"/>
                  <a:pt x="3505199" y="293709"/>
                  <a:pt x="4002832" y="248611"/>
                </a:cubicBezTo>
                <a:cubicBezTo>
                  <a:pt x="4500465" y="203513"/>
                  <a:pt x="5058746" y="1310745"/>
                  <a:pt x="5542383" y="1274978"/>
                </a:cubicBezTo>
                <a:cubicBezTo>
                  <a:pt x="6026020" y="1239211"/>
                  <a:pt x="6414796" y="6015"/>
                  <a:pt x="6904653" y="34007"/>
                </a:cubicBezTo>
                <a:cubicBezTo>
                  <a:pt x="7394510" y="61999"/>
                  <a:pt x="7965232" y="1442929"/>
                  <a:pt x="8481526" y="1442929"/>
                </a:cubicBezTo>
                <a:cubicBezTo>
                  <a:pt x="8997820" y="1442929"/>
                  <a:pt x="9565432" y="201958"/>
                  <a:pt x="10002416" y="34007"/>
                </a:cubicBezTo>
                <a:cubicBezTo>
                  <a:pt x="10439400" y="-133944"/>
                  <a:pt x="10873273" y="371464"/>
                  <a:pt x="11103428" y="435223"/>
                </a:cubicBezTo>
                <a:cubicBezTo>
                  <a:pt x="11333583" y="498982"/>
                  <a:pt x="11356910" y="411897"/>
                  <a:pt x="11383347" y="416562"/>
                </a:cubicBezTo>
                <a:cubicBezTo>
                  <a:pt x="11409784" y="421227"/>
                  <a:pt x="11335916" y="442221"/>
                  <a:pt x="11262049" y="463215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0F4BDE0A-1F1E-BEA4-6876-39197CC9E725}"/>
              </a:ext>
            </a:extLst>
          </p:cNvPr>
          <p:cNvCxnSpPr>
            <a:cxnSpLocks/>
          </p:cNvCxnSpPr>
          <p:nvPr/>
        </p:nvCxnSpPr>
        <p:spPr>
          <a:xfrm>
            <a:off x="526325" y="2616557"/>
            <a:ext cx="11342402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Bulle narrative : ronde 8">
            <a:extLst>
              <a:ext uri="{FF2B5EF4-FFF2-40B4-BE49-F238E27FC236}">
                <a16:creationId xmlns:a16="http://schemas.microsoft.com/office/drawing/2014/main" id="{C9047E32-C475-7CDE-526E-6D68C2B31DBE}"/>
              </a:ext>
            </a:extLst>
          </p:cNvPr>
          <p:cNvSpPr/>
          <p:nvPr/>
        </p:nvSpPr>
        <p:spPr>
          <a:xfrm>
            <a:off x="616003" y="1701463"/>
            <a:ext cx="869040" cy="786371"/>
          </a:xfrm>
          <a:prstGeom prst="wedgeEllipseCallout">
            <a:avLst>
              <a:gd name="adj1" fmla="val 884"/>
              <a:gd name="adj2" fmla="val 5914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2" name="Organigramme : Connecteur 11">
            <a:extLst>
              <a:ext uri="{FF2B5EF4-FFF2-40B4-BE49-F238E27FC236}">
                <a16:creationId xmlns:a16="http://schemas.microsoft.com/office/drawing/2014/main" id="{1B473650-B80F-5978-A4B9-4AC5A80CCEE6}"/>
              </a:ext>
            </a:extLst>
          </p:cNvPr>
          <p:cNvSpPr/>
          <p:nvPr/>
        </p:nvSpPr>
        <p:spPr>
          <a:xfrm>
            <a:off x="713147" y="1778834"/>
            <a:ext cx="675409" cy="640831"/>
          </a:xfrm>
          <a:prstGeom prst="flowChartConnector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19" name="Bulle narrative : ronde 18">
            <a:extLst>
              <a:ext uri="{FF2B5EF4-FFF2-40B4-BE49-F238E27FC236}">
                <a16:creationId xmlns:a16="http://schemas.microsoft.com/office/drawing/2014/main" id="{4F5564C9-523A-BDC4-C6EA-03D5C7143546}"/>
              </a:ext>
            </a:extLst>
          </p:cNvPr>
          <p:cNvSpPr/>
          <p:nvPr/>
        </p:nvSpPr>
        <p:spPr>
          <a:xfrm>
            <a:off x="1960996" y="1712488"/>
            <a:ext cx="869040" cy="786371"/>
          </a:xfrm>
          <a:prstGeom prst="wedgeEllipseCallout">
            <a:avLst>
              <a:gd name="adj1" fmla="val 884"/>
              <a:gd name="adj2" fmla="val 5914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21" name="Organigramme : Connecteur 20">
            <a:extLst>
              <a:ext uri="{FF2B5EF4-FFF2-40B4-BE49-F238E27FC236}">
                <a16:creationId xmlns:a16="http://schemas.microsoft.com/office/drawing/2014/main" id="{643A1D23-95EF-FA2A-D8ED-B26B8EA39791}"/>
              </a:ext>
            </a:extLst>
          </p:cNvPr>
          <p:cNvSpPr/>
          <p:nvPr/>
        </p:nvSpPr>
        <p:spPr>
          <a:xfrm>
            <a:off x="2057812" y="1784937"/>
            <a:ext cx="675409" cy="640831"/>
          </a:xfrm>
          <a:prstGeom prst="flowChartConnector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4BDC6649-B26B-C2B3-6B31-1535FE72D579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2387807" y="2689164"/>
            <a:ext cx="0" cy="224638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Graphique 47" descr="Réunion en ligne contour">
            <a:extLst>
              <a:ext uri="{FF2B5EF4-FFF2-40B4-BE49-F238E27FC236}">
                <a16:creationId xmlns:a16="http://schemas.microsoft.com/office/drawing/2014/main" id="{4D4C73CD-9E29-62CB-995C-08234ACDA5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3498" y="1842204"/>
            <a:ext cx="505759" cy="505759"/>
          </a:xfrm>
          <a:prstGeom prst="rect">
            <a:avLst/>
          </a:prstGeom>
        </p:spPr>
      </p:pic>
      <p:pic>
        <p:nvPicPr>
          <p:cNvPr id="68" name="Graphique 67" descr="Réunion contour">
            <a:extLst>
              <a:ext uri="{FF2B5EF4-FFF2-40B4-BE49-F238E27FC236}">
                <a16:creationId xmlns:a16="http://schemas.microsoft.com/office/drawing/2014/main" id="{5303961D-D7F7-E44C-2D94-8FF15484BA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08209" y="1835573"/>
            <a:ext cx="457200" cy="457200"/>
          </a:xfrm>
          <a:prstGeom prst="rect">
            <a:avLst/>
          </a:prstGeom>
        </p:spPr>
      </p:pic>
      <p:grpSp>
        <p:nvGrpSpPr>
          <p:cNvPr id="4" name="Groupe 3">
            <a:extLst>
              <a:ext uri="{FF2B5EF4-FFF2-40B4-BE49-F238E27FC236}">
                <a16:creationId xmlns:a16="http://schemas.microsoft.com/office/drawing/2014/main" id="{E947E732-9941-8A89-FDC0-FE7E9787A77A}"/>
              </a:ext>
            </a:extLst>
          </p:cNvPr>
          <p:cNvGrpSpPr/>
          <p:nvPr/>
        </p:nvGrpSpPr>
        <p:grpSpPr>
          <a:xfrm>
            <a:off x="3370034" y="1703231"/>
            <a:ext cx="869040" cy="786371"/>
            <a:chOff x="3461367" y="1694895"/>
            <a:chExt cx="869040" cy="786371"/>
          </a:xfrm>
        </p:grpSpPr>
        <p:sp>
          <p:nvSpPr>
            <p:cNvPr id="24" name="Bulle narrative : ronde 23">
              <a:extLst>
                <a:ext uri="{FF2B5EF4-FFF2-40B4-BE49-F238E27FC236}">
                  <a16:creationId xmlns:a16="http://schemas.microsoft.com/office/drawing/2014/main" id="{34A9A1B6-180D-A34A-546A-BBB879E25C57}"/>
                </a:ext>
              </a:extLst>
            </p:cNvPr>
            <p:cNvSpPr/>
            <p:nvPr/>
          </p:nvSpPr>
          <p:spPr>
            <a:xfrm>
              <a:off x="3461367" y="1694895"/>
              <a:ext cx="869040" cy="786371"/>
            </a:xfrm>
            <a:prstGeom prst="wedgeEllipseCallout">
              <a:avLst>
                <a:gd name="adj1" fmla="val 884"/>
                <a:gd name="adj2" fmla="val 5914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41" name="Organigramme : Connecteur 40">
              <a:extLst>
                <a:ext uri="{FF2B5EF4-FFF2-40B4-BE49-F238E27FC236}">
                  <a16:creationId xmlns:a16="http://schemas.microsoft.com/office/drawing/2014/main" id="{C51C8566-0B55-6F01-6836-64833EE67A3E}"/>
                </a:ext>
              </a:extLst>
            </p:cNvPr>
            <p:cNvSpPr/>
            <p:nvPr/>
          </p:nvSpPr>
          <p:spPr>
            <a:xfrm>
              <a:off x="3558506" y="1763890"/>
              <a:ext cx="675409" cy="640831"/>
            </a:xfrm>
            <a:prstGeom prst="flowChartConnector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E03836F3-6485-92EA-E6F4-E7120CEE339D}"/>
              </a:ext>
            </a:extLst>
          </p:cNvPr>
          <p:cNvCxnSpPr/>
          <p:nvPr/>
        </p:nvCxnSpPr>
        <p:spPr>
          <a:xfrm>
            <a:off x="3804554" y="2695695"/>
            <a:ext cx="0" cy="76338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9" name="Groupe 58">
            <a:extLst>
              <a:ext uri="{FF2B5EF4-FFF2-40B4-BE49-F238E27FC236}">
                <a16:creationId xmlns:a16="http://schemas.microsoft.com/office/drawing/2014/main" id="{415646F3-1937-96FC-F329-223156A53387}"/>
              </a:ext>
            </a:extLst>
          </p:cNvPr>
          <p:cNvGrpSpPr/>
          <p:nvPr/>
        </p:nvGrpSpPr>
        <p:grpSpPr>
          <a:xfrm>
            <a:off x="6052666" y="1699307"/>
            <a:ext cx="869040" cy="786371"/>
            <a:chOff x="5659965" y="1262128"/>
            <a:chExt cx="869040" cy="786371"/>
          </a:xfrm>
        </p:grpSpPr>
        <p:sp>
          <p:nvSpPr>
            <p:cNvPr id="52" name="Bulle narrative : ronde 51">
              <a:extLst>
                <a:ext uri="{FF2B5EF4-FFF2-40B4-BE49-F238E27FC236}">
                  <a16:creationId xmlns:a16="http://schemas.microsoft.com/office/drawing/2014/main" id="{516F1F2E-739E-A40C-D114-C94758894623}"/>
                </a:ext>
              </a:extLst>
            </p:cNvPr>
            <p:cNvSpPr/>
            <p:nvPr/>
          </p:nvSpPr>
          <p:spPr>
            <a:xfrm>
              <a:off x="5659965" y="1262128"/>
              <a:ext cx="869040" cy="786371"/>
            </a:xfrm>
            <a:prstGeom prst="wedgeEllipseCallout">
              <a:avLst>
                <a:gd name="adj1" fmla="val 884"/>
                <a:gd name="adj2" fmla="val 5914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53" name="Organigramme : Connecteur 52">
              <a:extLst>
                <a:ext uri="{FF2B5EF4-FFF2-40B4-BE49-F238E27FC236}">
                  <a16:creationId xmlns:a16="http://schemas.microsoft.com/office/drawing/2014/main" id="{B23AE1FE-1891-548C-3848-F31FEF937075}"/>
                </a:ext>
              </a:extLst>
            </p:cNvPr>
            <p:cNvSpPr/>
            <p:nvPr/>
          </p:nvSpPr>
          <p:spPr>
            <a:xfrm>
              <a:off x="5756780" y="1341987"/>
              <a:ext cx="675409" cy="640831"/>
            </a:xfrm>
            <a:prstGeom prst="flowChartConnector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9A8D9BDB-794F-340F-45E6-00853F36B3DA}"/>
              </a:ext>
            </a:extLst>
          </p:cNvPr>
          <p:cNvCxnSpPr/>
          <p:nvPr/>
        </p:nvCxnSpPr>
        <p:spPr>
          <a:xfrm>
            <a:off x="6498171" y="2689164"/>
            <a:ext cx="0" cy="76338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Bulle narrative : ronde 55">
            <a:extLst>
              <a:ext uri="{FF2B5EF4-FFF2-40B4-BE49-F238E27FC236}">
                <a16:creationId xmlns:a16="http://schemas.microsoft.com/office/drawing/2014/main" id="{707BF4E8-EE21-D835-7FF9-F0463CB2730E}"/>
              </a:ext>
            </a:extLst>
          </p:cNvPr>
          <p:cNvSpPr/>
          <p:nvPr/>
        </p:nvSpPr>
        <p:spPr>
          <a:xfrm>
            <a:off x="7342258" y="1688432"/>
            <a:ext cx="869040" cy="786371"/>
          </a:xfrm>
          <a:prstGeom prst="wedgeEllipseCallout">
            <a:avLst>
              <a:gd name="adj1" fmla="val 884"/>
              <a:gd name="adj2" fmla="val 5914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57" name="Organigramme : Connecteur 56">
            <a:extLst>
              <a:ext uri="{FF2B5EF4-FFF2-40B4-BE49-F238E27FC236}">
                <a16:creationId xmlns:a16="http://schemas.microsoft.com/office/drawing/2014/main" id="{FC9DC528-1434-3DE6-5AB2-320690E03D1C}"/>
              </a:ext>
            </a:extLst>
          </p:cNvPr>
          <p:cNvSpPr/>
          <p:nvPr/>
        </p:nvSpPr>
        <p:spPr>
          <a:xfrm>
            <a:off x="7439073" y="1763100"/>
            <a:ext cx="675409" cy="640831"/>
          </a:xfrm>
          <a:prstGeom prst="flowChartConnector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0" name="Bulle narrative : ronde 59">
            <a:extLst>
              <a:ext uri="{FF2B5EF4-FFF2-40B4-BE49-F238E27FC236}">
                <a16:creationId xmlns:a16="http://schemas.microsoft.com/office/drawing/2014/main" id="{CF9932A0-253C-6740-F536-FBDC899984C8}"/>
              </a:ext>
            </a:extLst>
          </p:cNvPr>
          <p:cNvSpPr/>
          <p:nvPr/>
        </p:nvSpPr>
        <p:spPr>
          <a:xfrm>
            <a:off x="9913791" y="1703014"/>
            <a:ext cx="869040" cy="786371"/>
          </a:xfrm>
          <a:prstGeom prst="wedgeEllipseCallout">
            <a:avLst>
              <a:gd name="adj1" fmla="val 884"/>
              <a:gd name="adj2" fmla="val 5914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1" name="Organigramme : Connecteur 60">
            <a:extLst>
              <a:ext uri="{FF2B5EF4-FFF2-40B4-BE49-F238E27FC236}">
                <a16:creationId xmlns:a16="http://schemas.microsoft.com/office/drawing/2014/main" id="{E1E5FA70-0848-70DF-2177-B10CA131FB34}"/>
              </a:ext>
            </a:extLst>
          </p:cNvPr>
          <p:cNvSpPr/>
          <p:nvPr/>
        </p:nvSpPr>
        <p:spPr>
          <a:xfrm>
            <a:off x="10001396" y="1777910"/>
            <a:ext cx="675409" cy="640831"/>
          </a:xfrm>
          <a:prstGeom prst="flowChartConnector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4" name="Bulle narrative : ronde 63">
            <a:extLst>
              <a:ext uri="{FF2B5EF4-FFF2-40B4-BE49-F238E27FC236}">
                <a16:creationId xmlns:a16="http://schemas.microsoft.com/office/drawing/2014/main" id="{6683DC39-8BD3-38B4-4748-D4E643A43CA3}"/>
              </a:ext>
            </a:extLst>
          </p:cNvPr>
          <p:cNvSpPr/>
          <p:nvPr/>
        </p:nvSpPr>
        <p:spPr>
          <a:xfrm>
            <a:off x="11139340" y="1701463"/>
            <a:ext cx="869040" cy="786371"/>
          </a:xfrm>
          <a:prstGeom prst="wedgeEllipseCallout">
            <a:avLst>
              <a:gd name="adj1" fmla="val 884"/>
              <a:gd name="adj2" fmla="val 59147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sp>
        <p:nvSpPr>
          <p:cNvPr id="65" name="Organigramme : Connecteur 64">
            <a:extLst>
              <a:ext uri="{FF2B5EF4-FFF2-40B4-BE49-F238E27FC236}">
                <a16:creationId xmlns:a16="http://schemas.microsoft.com/office/drawing/2014/main" id="{BC185596-2D1D-4A2D-8855-6607886AD84B}"/>
              </a:ext>
            </a:extLst>
          </p:cNvPr>
          <p:cNvSpPr/>
          <p:nvPr/>
        </p:nvSpPr>
        <p:spPr>
          <a:xfrm>
            <a:off x="11227632" y="1767277"/>
            <a:ext cx="675409" cy="640831"/>
          </a:xfrm>
          <a:prstGeom prst="flowChartConnector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/>
          </a:p>
        </p:txBody>
      </p:sp>
      <p:pic>
        <p:nvPicPr>
          <p:cNvPr id="70" name="Graphique 69" descr="Chat contour">
            <a:extLst>
              <a:ext uri="{FF2B5EF4-FFF2-40B4-BE49-F238E27FC236}">
                <a16:creationId xmlns:a16="http://schemas.microsoft.com/office/drawing/2014/main" id="{077E27CE-523F-B231-B70B-CFFECEDED9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2446" y="1820149"/>
            <a:ext cx="557737" cy="557737"/>
          </a:xfrm>
          <a:prstGeom prst="rect">
            <a:avLst/>
          </a:prstGeom>
        </p:spPr>
      </p:pic>
      <p:pic>
        <p:nvPicPr>
          <p:cNvPr id="90" name="Image 89" descr="Une image contenant Graphique, Police, graphisme, capture d’écran&#10;&#10;Description générée automatiquement">
            <a:extLst>
              <a:ext uri="{FF2B5EF4-FFF2-40B4-BE49-F238E27FC236}">
                <a16:creationId xmlns:a16="http://schemas.microsoft.com/office/drawing/2014/main" id="{19545D2D-4902-8AE9-418F-3EE5BEAFE36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433" y="1871024"/>
            <a:ext cx="384805" cy="384805"/>
          </a:xfrm>
          <a:prstGeom prst="rect">
            <a:avLst/>
          </a:prstGeom>
        </p:spPr>
      </p:pic>
      <p:pic>
        <p:nvPicPr>
          <p:cNvPr id="74" name="Graphique 73" descr="Lumières allumées contour">
            <a:extLst>
              <a:ext uri="{FF2B5EF4-FFF2-40B4-BE49-F238E27FC236}">
                <a16:creationId xmlns:a16="http://schemas.microsoft.com/office/drawing/2014/main" id="{B1D1C97E-958C-056B-E512-70A2BA7F43D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75954" y="1838652"/>
            <a:ext cx="457200" cy="457200"/>
          </a:xfrm>
          <a:prstGeom prst="rect">
            <a:avLst/>
          </a:prstGeom>
        </p:spPr>
      </p:pic>
      <p:pic>
        <p:nvPicPr>
          <p:cNvPr id="72" name="Graphique 71" descr="Mégaphone1 contour">
            <a:extLst>
              <a:ext uri="{FF2B5EF4-FFF2-40B4-BE49-F238E27FC236}">
                <a16:creationId xmlns:a16="http://schemas.microsoft.com/office/drawing/2014/main" id="{1183E647-B495-02F4-D92F-F774BDFB47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17644" y="1801804"/>
            <a:ext cx="554710" cy="554710"/>
          </a:xfrm>
          <a:prstGeom prst="rect">
            <a:avLst/>
          </a:prstGeom>
        </p:spPr>
      </p:pic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F292BBA1-150B-CB70-1DDD-CBCEDDA43752}"/>
              </a:ext>
            </a:extLst>
          </p:cNvPr>
          <p:cNvCxnSpPr/>
          <p:nvPr/>
        </p:nvCxnSpPr>
        <p:spPr>
          <a:xfrm>
            <a:off x="11565336" y="2695695"/>
            <a:ext cx="0" cy="76338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6" name="Graphique 85" descr="Calendrier journalier contour">
            <a:extLst>
              <a:ext uri="{FF2B5EF4-FFF2-40B4-BE49-F238E27FC236}">
                <a16:creationId xmlns:a16="http://schemas.microsoft.com/office/drawing/2014/main" id="{9C69DBA5-9B03-C36D-E8A9-05047079BF5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095176" y="1829870"/>
            <a:ext cx="490599" cy="490599"/>
          </a:xfrm>
          <a:prstGeom prst="rect">
            <a:avLst/>
          </a:prstGeom>
        </p:spPr>
      </p:pic>
      <p:pic>
        <p:nvPicPr>
          <p:cNvPr id="76" name="Graphique 75" descr="Pièces de puzzle contour">
            <a:extLst>
              <a:ext uri="{FF2B5EF4-FFF2-40B4-BE49-F238E27FC236}">
                <a16:creationId xmlns:a16="http://schemas.microsoft.com/office/drawing/2014/main" id="{AFD88339-F82E-AECD-4353-0DE82F0EEBD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309141" y="1786107"/>
            <a:ext cx="557737" cy="557737"/>
          </a:xfrm>
          <a:prstGeom prst="rect">
            <a:avLst/>
          </a:prstGeom>
        </p:spPr>
      </p:pic>
      <p:grpSp>
        <p:nvGrpSpPr>
          <p:cNvPr id="75" name="Groupe 74">
            <a:extLst>
              <a:ext uri="{FF2B5EF4-FFF2-40B4-BE49-F238E27FC236}">
                <a16:creationId xmlns:a16="http://schemas.microsoft.com/office/drawing/2014/main" id="{E271AF5A-1C64-4424-D84B-98548CEE4B68}"/>
              </a:ext>
            </a:extLst>
          </p:cNvPr>
          <p:cNvGrpSpPr/>
          <p:nvPr/>
        </p:nvGrpSpPr>
        <p:grpSpPr>
          <a:xfrm>
            <a:off x="8625016" y="1688748"/>
            <a:ext cx="869040" cy="786371"/>
            <a:chOff x="8603869" y="974827"/>
            <a:chExt cx="869040" cy="786371"/>
          </a:xfrm>
        </p:grpSpPr>
        <p:sp>
          <p:nvSpPr>
            <p:cNvPr id="6" name="Bulle narrative : ronde 5">
              <a:extLst>
                <a:ext uri="{FF2B5EF4-FFF2-40B4-BE49-F238E27FC236}">
                  <a16:creationId xmlns:a16="http://schemas.microsoft.com/office/drawing/2014/main" id="{CD28E5B8-0AB3-EF59-7ABF-25E8BE6236C7}"/>
                </a:ext>
              </a:extLst>
            </p:cNvPr>
            <p:cNvSpPr/>
            <p:nvPr/>
          </p:nvSpPr>
          <p:spPr>
            <a:xfrm>
              <a:off x="8603869" y="974827"/>
              <a:ext cx="869040" cy="786371"/>
            </a:xfrm>
            <a:prstGeom prst="wedgeEllipseCallout">
              <a:avLst>
                <a:gd name="adj1" fmla="val 884"/>
                <a:gd name="adj2" fmla="val 59147"/>
              </a:avLst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  <p:sp>
          <p:nvSpPr>
            <p:cNvPr id="7" name="Organigramme : Connecteur 6">
              <a:extLst>
                <a:ext uri="{FF2B5EF4-FFF2-40B4-BE49-F238E27FC236}">
                  <a16:creationId xmlns:a16="http://schemas.microsoft.com/office/drawing/2014/main" id="{614FC34A-380A-033D-B310-E448665752AC}"/>
                </a:ext>
              </a:extLst>
            </p:cNvPr>
            <p:cNvSpPr/>
            <p:nvPr/>
          </p:nvSpPr>
          <p:spPr>
            <a:xfrm>
              <a:off x="8702787" y="1049760"/>
              <a:ext cx="675409" cy="640831"/>
            </a:xfrm>
            <a:prstGeom prst="flowChartConnector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 err="1"/>
            </a:p>
          </p:txBody>
        </p: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4E6656CF-E223-D5D9-04DD-3089CCC17096}"/>
              </a:ext>
            </a:extLst>
          </p:cNvPr>
          <p:cNvSpPr txBox="1"/>
          <p:nvPr/>
        </p:nvSpPr>
        <p:spPr>
          <a:xfrm>
            <a:off x="8303146" y="3525450"/>
            <a:ext cx="161064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Courant mars</a:t>
            </a:r>
          </a:p>
          <a:p>
            <a:pPr algn="ctr"/>
            <a:r>
              <a:rPr lang="fr-FR" sz="1400" b="1" dirty="0">
                <a:latin typeface="Marianne" panose="02000000000000000000" pitchFamily="2" charset="0"/>
              </a:rPr>
              <a:t>ou début Avril 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F15ABA80-4734-B8E0-2292-E02D97BAF2F7}"/>
              </a:ext>
            </a:extLst>
          </p:cNvPr>
          <p:cNvSpPr txBox="1"/>
          <p:nvPr/>
        </p:nvSpPr>
        <p:spPr>
          <a:xfrm>
            <a:off x="8060033" y="4032735"/>
            <a:ext cx="213485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1200" dirty="0">
                <a:latin typeface="Marianne" panose="02000000000000000000" pitchFamily="2" charset="0"/>
              </a:rPr>
              <a:t>Projet Webinaire national sur </a:t>
            </a:r>
          </a:p>
          <a:p>
            <a:pPr algn="ctr"/>
            <a:r>
              <a:rPr lang="fr-FR" sz="1200" dirty="0">
                <a:latin typeface="Marianne" panose="02000000000000000000" pitchFamily="2" charset="0"/>
              </a:rPr>
              <a:t>l’immersion professionnelle</a:t>
            </a:r>
          </a:p>
        </p:txBody>
      </p:sp>
      <p:pic>
        <p:nvPicPr>
          <p:cNvPr id="45" name="Graphique 44" descr="Réunion en ligne contour">
            <a:extLst>
              <a:ext uri="{FF2B5EF4-FFF2-40B4-BE49-F238E27FC236}">
                <a16:creationId xmlns:a16="http://schemas.microsoft.com/office/drawing/2014/main" id="{E9AE687D-62E3-21A3-3F19-6ABCC90E96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06697" y="1813212"/>
            <a:ext cx="505759" cy="505759"/>
          </a:xfrm>
          <a:prstGeom prst="rect">
            <a:avLst/>
          </a:prstGeom>
        </p:spPr>
      </p:pic>
      <p:cxnSp>
        <p:nvCxnSpPr>
          <p:cNvPr id="84" name="Connecteur droit 83">
            <a:extLst>
              <a:ext uri="{FF2B5EF4-FFF2-40B4-BE49-F238E27FC236}">
                <a16:creationId xmlns:a16="http://schemas.microsoft.com/office/drawing/2014/main" id="{5E2187B4-944A-F552-93E6-8B2BAB42A3EB}"/>
              </a:ext>
            </a:extLst>
          </p:cNvPr>
          <p:cNvCxnSpPr/>
          <p:nvPr/>
        </p:nvCxnSpPr>
        <p:spPr>
          <a:xfrm>
            <a:off x="9072562" y="2665611"/>
            <a:ext cx="0" cy="76338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necteur droit 84">
            <a:extLst>
              <a:ext uri="{FF2B5EF4-FFF2-40B4-BE49-F238E27FC236}">
                <a16:creationId xmlns:a16="http://schemas.microsoft.com/office/drawing/2014/main" id="{A62B66EA-3278-3E0D-BB03-ACE9D2718D5D}"/>
              </a:ext>
            </a:extLst>
          </p:cNvPr>
          <p:cNvCxnSpPr/>
          <p:nvPr/>
        </p:nvCxnSpPr>
        <p:spPr>
          <a:xfrm>
            <a:off x="1054313" y="2701993"/>
            <a:ext cx="0" cy="763389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>
            <a:extLst>
              <a:ext uri="{FF2B5EF4-FFF2-40B4-BE49-F238E27FC236}">
                <a16:creationId xmlns:a16="http://schemas.microsoft.com/office/drawing/2014/main" id="{AC420EA6-C40B-2CF9-1153-32DCEB78EBC5}"/>
              </a:ext>
            </a:extLst>
          </p:cNvPr>
          <p:cNvCxnSpPr>
            <a:cxnSpLocks/>
          </p:cNvCxnSpPr>
          <p:nvPr/>
        </p:nvCxnSpPr>
        <p:spPr>
          <a:xfrm>
            <a:off x="5162209" y="2676654"/>
            <a:ext cx="0" cy="224638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 droit 90">
            <a:extLst>
              <a:ext uri="{FF2B5EF4-FFF2-40B4-BE49-F238E27FC236}">
                <a16:creationId xmlns:a16="http://schemas.microsoft.com/office/drawing/2014/main" id="{4ACD829D-4678-8AC6-15D7-3CC33A5CBC32}"/>
              </a:ext>
            </a:extLst>
          </p:cNvPr>
          <p:cNvCxnSpPr>
            <a:cxnSpLocks/>
          </p:cNvCxnSpPr>
          <p:nvPr/>
        </p:nvCxnSpPr>
        <p:spPr>
          <a:xfrm>
            <a:off x="7789477" y="2649523"/>
            <a:ext cx="0" cy="224638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91">
            <a:extLst>
              <a:ext uri="{FF2B5EF4-FFF2-40B4-BE49-F238E27FC236}">
                <a16:creationId xmlns:a16="http://schemas.microsoft.com/office/drawing/2014/main" id="{BCCC8D36-DC48-B2E7-E26F-214E5619BE46}"/>
              </a:ext>
            </a:extLst>
          </p:cNvPr>
          <p:cNvCxnSpPr>
            <a:cxnSpLocks/>
          </p:cNvCxnSpPr>
          <p:nvPr/>
        </p:nvCxnSpPr>
        <p:spPr>
          <a:xfrm>
            <a:off x="10365031" y="2682995"/>
            <a:ext cx="0" cy="224638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98768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0B83037-32E1-4B92-705C-971562CA21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146" y="469106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30ACD0E-C74B-19FC-728B-5F790C4D91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483" y="0"/>
            <a:ext cx="5970108" cy="1325563"/>
          </a:xfrm>
        </p:spPr>
        <p:txBody>
          <a:bodyPr/>
          <a:lstStyle/>
          <a:p>
            <a:r>
              <a:rPr lang="fr-FR" dirty="0"/>
              <a:t>La boite à outils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0BC93C7-EB7B-F514-4D18-4202C1AF7E4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5</a:t>
            </a:fld>
            <a:r>
              <a:rPr lang="fr-FR"/>
              <a:t> |</a:t>
            </a:r>
            <a:endParaRPr lang="fr-FR" dirty="0"/>
          </a:p>
        </p:txBody>
      </p:sp>
      <p:pic>
        <p:nvPicPr>
          <p:cNvPr id="14" name="Image 13" descr="Une image contenant Graphique, Police, symbole, conception&#10;&#10;Description générée automatiquement">
            <a:extLst>
              <a:ext uri="{FF2B5EF4-FFF2-40B4-BE49-F238E27FC236}">
                <a16:creationId xmlns:a16="http://schemas.microsoft.com/office/drawing/2014/main" id="{6F5155CC-5012-477A-6F8F-C5CCD11089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96" y="1919893"/>
            <a:ext cx="2643404" cy="2643404"/>
          </a:xfrm>
          <a:prstGeom prst="rect">
            <a:avLst/>
          </a:prstGeom>
        </p:spPr>
      </p:pic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ACB02916-8DC6-53A4-9848-679D3EF9F97A}"/>
              </a:ext>
            </a:extLst>
          </p:cNvPr>
          <p:cNvSpPr txBox="1">
            <a:spLocks/>
          </p:cNvSpPr>
          <p:nvPr/>
        </p:nvSpPr>
        <p:spPr>
          <a:xfrm>
            <a:off x="4295554" y="1111956"/>
            <a:ext cx="7633503" cy="5412651"/>
          </a:xfrm>
          <a:prstGeom prst="rect">
            <a:avLst/>
          </a:prstGeom>
        </p:spPr>
        <p:txBody>
          <a:bodyPr>
            <a:normAutofit fontScale="77500" lnSpcReduction="2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 spc="-2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endParaRPr lang="fr-FR" sz="1500" dirty="0">
              <a:hlinkClick r:id="rId4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5"/>
              </a:rPr>
              <a:t>Plateforme prendresoin.francetravail.fr</a:t>
            </a:r>
            <a:endParaRPr lang="fr-FR" sz="1500" dirty="0">
              <a:hlinkClick r:id="rId4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>
              <a:hlinkClick r:id="rId4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4"/>
              </a:rPr>
              <a:t>Portrait sectoriel Santé Social</a:t>
            </a: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/>
              <a:t>Les dossiers sur notre site </a:t>
            </a:r>
            <a:r>
              <a:rPr lang="fr-FR" sz="1500" dirty="0">
                <a:hlinkClick r:id="rId6"/>
              </a:rPr>
              <a:t>Santé </a:t>
            </a:r>
            <a:r>
              <a:rPr lang="fr-FR" sz="1500" dirty="0"/>
              <a:t>et </a:t>
            </a:r>
            <a:r>
              <a:rPr lang="fr-FR" sz="1500" dirty="0">
                <a:hlinkClick r:id="rId7"/>
              </a:rPr>
              <a:t>Service à la personne</a:t>
            </a: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8"/>
              </a:rPr>
              <a:t>Série #Fiers d’être utiles</a:t>
            </a: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9"/>
              </a:rPr>
              <a:t>Replay Webinaire « Les métiers de la petite enfance » </a:t>
            </a: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10"/>
              </a:rPr>
              <a:t>Replay Webinaire « Les métiers du médico-social et du social »</a:t>
            </a: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11"/>
              </a:rPr>
              <a:t>Replay Webinaire « Travailler en France dans la santé avec un diplôme obtenue à l’étranger »</a:t>
            </a:r>
            <a:endParaRPr lang="fr-FR" sz="1500" dirty="0"/>
          </a:p>
          <a:p>
            <a:pPr algn="just"/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12"/>
              </a:rPr>
              <a:t>Plateforme Changer des vies </a:t>
            </a:r>
            <a:r>
              <a:rPr lang="fr-FR" sz="1500" dirty="0"/>
              <a:t>avec des témoignages de professionnels travaillant dans le secteur de l’enfance, du grand âge, du handicap, de l’insertion, de la protection juridique des majeur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13"/>
              </a:rPr>
              <a:t>Fiches métiers </a:t>
            </a:r>
            <a:r>
              <a:rPr lang="fr-FR" sz="1500" dirty="0"/>
              <a:t>Nexe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>
                <a:hlinkClick r:id="rId14"/>
              </a:rPr>
              <a:t>Fiches sectorielles et Glossaire </a:t>
            </a:r>
            <a:r>
              <a:rPr lang="fr-FR" sz="1500" dirty="0"/>
              <a:t>des sigles du secteur social et médico-social Nexem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/>
              <a:t>Le site </a:t>
            </a:r>
            <a:r>
              <a:rPr lang="fr-FR" sz="1500" dirty="0">
                <a:hlinkClick r:id="rId15"/>
              </a:rPr>
              <a:t>#jobdeliens </a:t>
            </a:r>
            <a:r>
              <a:rPr lang="fr-FR" sz="1500" dirty="0"/>
              <a:t>sur les métiers de la protection de l’enfanc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/>
              <a:t>Le </a:t>
            </a:r>
            <a:r>
              <a:rPr lang="fr-FR" sz="1500" dirty="0">
                <a:hlinkClick r:id="rId16"/>
              </a:rPr>
              <a:t>site de l’OPCO santé: Diplômés de la vie </a:t>
            </a:r>
            <a:r>
              <a:rPr lang="fr-FR" sz="1500" dirty="0"/>
              <a:t>et leur </a:t>
            </a:r>
            <a:r>
              <a:rPr lang="fr-FR" sz="1500" dirty="0">
                <a:hlinkClick r:id="rId17"/>
              </a:rPr>
              <a:t>chaine </a:t>
            </a:r>
            <a:r>
              <a:rPr lang="fr-FR" sz="1500" dirty="0" err="1">
                <a:hlinkClick r:id="rId17"/>
              </a:rPr>
              <a:t>youtube</a:t>
            </a:r>
            <a:r>
              <a:rPr lang="fr-FR" sz="1500" dirty="0">
                <a:hlinkClick r:id="rId17"/>
              </a:rPr>
              <a:t> </a:t>
            </a:r>
            <a:r>
              <a:rPr lang="fr-FR" sz="1500" dirty="0"/>
              <a:t>qui proposent des zooms sur 8 métiers, des vidéos en immersion en EPHAD, ESAT et centre de rééducation, outils de promotion de l’alternance.</a:t>
            </a:r>
          </a:p>
          <a:p>
            <a:pPr algn="just"/>
            <a:endParaRPr lang="fr-FR" sz="1500" dirty="0">
              <a:hlinkClick r:id="rId17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/>
              <a:t>Les </a:t>
            </a:r>
            <a:r>
              <a:rPr lang="fr-FR" sz="1500" dirty="0">
                <a:hlinkClick r:id="rId18"/>
              </a:rPr>
              <a:t>fiches métiers de la cohésion sociale </a:t>
            </a:r>
            <a:r>
              <a:rPr lang="fr-FR" sz="1500" dirty="0"/>
              <a:t>du site Uniform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5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500" dirty="0"/>
              <a:t>Tous les métiers du secteur sanitaire, social et médicosocial sont-ils accessibles ? Webinaire OETH:</a:t>
            </a:r>
            <a:r>
              <a:rPr lang="fr-FR" sz="1500" dirty="0">
                <a:solidFill>
                  <a:srgbClr val="2E247A"/>
                </a:solidFill>
              </a:rPr>
              <a:t> </a:t>
            </a:r>
            <a:r>
              <a:rPr lang="fr-FR" sz="1500" dirty="0">
                <a:solidFill>
                  <a:srgbClr val="2E247A"/>
                </a:solidFill>
                <a:hlinkClick r:id="rId19"/>
              </a:rPr>
              <a:t>https://youtu.be/uMnnRVjCDuc</a:t>
            </a:r>
            <a:endParaRPr lang="fr-FR" sz="1500" dirty="0">
              <a:solidFill>
                <a:srgbClr val="2E247A"/>
              </a:solidFill>
            </a:endParaRPr>
          </a:p>
        </p:txBody>
      </p:sp>
      <p:sp>
        <p:nvSpPr>
          <p:cNvPr id="18" name="Espace réservé du pied de page 6">
            <a:extLst>
              <a:ext uri="{FF2B5EF4-FFF2-40B4-BE49-F238E27FC236}">
                <a16:creationId xmlns:a16="http://schemas.microsoft.com/office/drawing/2014/main" id="{1345707A-7307-EDB7-5761-9E787C712104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–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0080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9BA5163-7C5D-F0D1-E13F-EE43E7EDE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65" y="401142"/>
            <a:ext cx="10289479" cy="1463935"/>
          </a:xfrm>
        </p:spPr>
        <p:txBody>
          <a:bodyPr/>
          <a:lstStyle/>
          <a:p>
            <a:r>
              <a:rPr lang="fr-FR" dirty="0"/>
              <a:t>Pour faciliter nos échanges: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08627DA-523C-CDE9-4ACA-9B8E5E6C930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48574" y="1988694"/>
            <a:ext cx="3422279" cy="3295782"/>
          </a:xfrm>
        </p:spPr>
        <p:txBody>
          <a:bodyPr/>
          <a:lstStyle/>
          <a:p>
            <a:pPr algn="ctr"/>
            <a:r>
              <a:rPr lang="fr-FR" dirty="0"/>
              <a:t>Vos interlocuteurs régionaux France Travail Grand Est</a:t>
            </a:r>
          </a:p>
          <a:p>
            <a:pPr algn="ctr"/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CF83A2F-42A2-0940-2186-969F6165D7C6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3585" y="2335639"/>
            <a:ext cx="609980" cy="609980"/>
          </a:xfrm>
        </p:spPr>
        <p:txBody>
          <a:bodyPr/>
          <a:lstStyle/>
          <a:p>
            <a:endParaRPr lang="fr-FR" dirty="0"/>
          </a:p>
        </p:txBody>
      </p:sp>
      <p:pic>
        <p:nvPicPr>
          <p:cNvPr id="21" name="Espace réservé pour une image  20" descr="Téléphone à haut-parleur contour">
            <a:extLst>
              <a:ext uri="{FF2B5EF4-FFF2-40B4-BE49-F238E27FC236}">
                <a16:creationId xmlns:a16="http://schemas.microsoft.com/office/drawing/2014/main" id="{F46B39A3-B51B-40E5-895A-284E1C20574A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p:blipFill>
        <p:spPr>
          <a:xfrm>
            <a:off x="591788" y="2383843"/>
            <a:ext cx="513574" cy="513572"/>
          </a:xfr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DCB8559-BA10-AAC7-A523-C7A0BEB4767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735108" y="1999836"/>
            <a:ext cx="3292298" cy="3295782"/>
          </a:xfrm>
        </p:spPr>
        <p:txBody>
          <a:bodyPr/>
          <a:lstStyle/>
          <a:p>
            <a:pPr algn="ctr"/>
            <a:r>
              <a:rPr lang="fr-FR" sz="1600" b="1" spc="-20" dirty="0">
                <a:latin typeface="+mj-lt"/>
              </a:rPr>
              <a:t>Un canal Teams dédié</a:t>
            </a:r>
            <a:r>
              <a:rPr lang="fr-FR" dirty="0"/>
              <a:t> en interne </a:t>
            </a:r>
          </a:p>
          <a:p>
            <a:pPr algn="ctr"/>
            <a:r>
              <a:rPr lang="fr-FR" dirty="0">
                <a:ea typeface="Verdana"/>
              </a:rPr>
              <a:t>(avec près de 1 100 collaborateurs)</a:t>
            </a:r>
          </a:p>
          <a:p>
            <a:pPr algn="ctr"/>
            <a:endParaRPr lang="fr-FR" dirty="0">
              <a:ea typeface="Verdana"/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494A431-6E66-ACF5-E095-6BE3B7A812C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4356622" y="2346781"/>
            <a:ext cx="609980" cy="60998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134383E2-3884-F615-71C9-B7DB54EF2A9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491661" y="1999836"/>
            <a:ext cx="3292298" cy="3295782"/>
          </a:xfrm>
        </p:spPr>
        <p:txBody>
          <a:bodyPr/>
          <a:lstStyle/>
          <a:p>
            <a:pPr algn="ctr"/>
            <a:r>
              <a:rPr lang="fr-FR" dirty="0"/>
              <a:t>Vos interlocuteurs en Direction Territoriale et en agences France Travail pour la mise en place d'actions locales </a:t>
            </a:r>
            <a:endParaRPr lang="fr-FR" dirty="0">
              <a:ea typeface="Verdana"/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4218CB4-1043-3CEC-8B57-274F9EBFF03F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185878" y="2346781"/>
            <a:ext cx="609980" cy="609980"/>
          </a:xfrm>
        </p:spPr>
        <p:txBody>
          <a:bodyPr/>
          <a:lstStyle/>
          <a:p>
            <a:endParaRPr lang="fr-FR" dirty="0"/>
          </a:p>
        </p:txBody>
      </p:sp>
      <p:pic>
        <p:nvPicPr>
          <p:cNvPr id="25" name="Espace réservé pour une image  24" descr="Réseaux sociaux contour">
            <a:extLst>
              <a:ext uri="{FF2B5EF4-FFF2-40B4-BE49-F238E27FC236}">
                <a16:creationId xmlns:a16="http://schemas.microsoft.com/office/drawing/2014/main" id="{CA0ED924-2D47-BA7B-B3DC-169671C5D541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54" r="154"/>
          <a:stretch>
            <a:fillRect/>
          </a:stretch>
        </p:blipFill>
        <p:spPr>
          <a:xfrm>
            <a:off x="8234081" y="2394985"/>
            <a:ext cx="513574" cy="513572"/>
          </a:xfrm>
        </p:spPr>
      </p:pic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207242E-5378-017C-7987-3D524BDBDD57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6</a:t>
            </a:fld>
            <a:r>
              <a:rPr lang="fr-FR"/>
              <a:t> |</a:t>
            </a:r>
            <a:endParaRPr lang="fr-FR" dirty="0"/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78418C6-E26C-E532-5862-B47283C09517}"/>
              </a:ext>
            </a:extLst>
          </p:cNvPr>
          <p:cNvSpPr txBox="1"/>
          <p:nvPr/>
        </p:nvSpPr>
        <p:spPr>
          <a:xfrm>
            <a:off x="4966602" y="4055161"/>
            <a:ext cx="29006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1400" b="1" i="0" dirty="0">
                <a:solidFill>
                  <a:srgbClr val="242424"/>
                </a:solidFill>
                <a:effectLst/>
                <a:latin typeface="+mj-lt"/>
              </a:rPr>
              <a:t>GRE - Santé Action sociale groupe régional</a:t>
            </a:r>
            <a:endParaRPr lang="fr-FR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A01264B-D5D9-EC51-9D91-EE1D12F2BC13}"/>
              </a:ext>
            </a:extLst>
          </p:cNvPr>
          <p:cNvSpPr txBox="1"/>
          <p:nvPr/>
        </p:nvSpPr>
        <p:spPr>
          <a:xfrm>
            <a:off x="1144383" y="3331372"/>
            <a:ext cx="2906187" cy="187743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buFont typeface="Arial"/>
              <a:buChar char="•"/>
            </a:pPr>
            <a:r>
              <a:rPr lang="fr-FR" sz="1400" dirty="0">
                <a:ea typeface="Verdana"/>
              </a:rPr>
              <a:t>Marie-Neige BEAUVAIS  : </a:t>
            </a:r>
            <a:r>
              <a:rPr lang="fr-FR" sz="1400" dirty="0">
                <a:ea typeface="Verdana"/>
                <a:hlinkClick r:id="rId7"/>
              </a:rPr>
              <a:t>m-neige.beauvais@francetravail.fr</a:t>
            </a:r>
            <a:endParaRPr lang="fr-FR" sz="1400" b="1" dirty="0">
              <a:ea typeface="Verdana"/>
            </a:endParaRPr>
          </a:p>
          <a:p>
            <a:pPr>
              <a:buFont typeface="Arial"/>
              <a:buChar char="•"/>
            </a:pPr>
            <a:r>
              <a:rPr lang="fr-FR" sz="1400">
                <a:ea typeface="Verdana"/>
              </a:rPr>
              <a:t>Rodolphe RHIT : </a:t>
            </a:r>
            <a:r>
              <a:rPr lang="fr-FR" sz="1400" dirty="0">
                <a:ea typeface="Verdana"/>
                <a:hlinkClick r:id="rId8"/>
              </a:rPr>
              <a:t>rodolphe.rhit@francetravail.fr</a:t>
            </a:r>
            <a:endParaRPr lang="fr-FR"/>
          </a:p>
          <a:p>
            <a:pPr>
              <a:buFont typeface="Arial"/>
              <a:buChar char="•"/>
            </a:pPr>
            <a:r>
              <a:rPr lang="fr-FR" sz="1400">
                <a:ea typeface="Verdana"/>
              </a:rPr>
              <a:t>Céline GAULT : </a:t>
            </a:r>
            <a:r>
              <a:rPr lang="fr-FR" sz="1400" dirty="0">
                <a:ea typeface="Verdana"/>
                <a:hlinkClick r:id="rId9"/>
              </a:rPr>
              <a:t>céline.gault@francetravail.fr</a:t>
            </a:r>
            <a:endParaRPr lang="fr-FR"/>
          </a:p>
          <a:p>
            <a:pPr marL="171450" indent="-171450">
              <a:buFontTx/>
              <a:buChar char="-"/>
            </a:pPr>
            <a:endParaRPr lang="fr-FR" sz="1400" b="1" dirty="0">
              <a:ea typeface="Verdana"/>
            </a:endParaRPr>
          </a:p>
          <a:p>
            <a:pPr marL="171450" indent="-171450">
              <a:buFontTx/>
              <a:buChar char="-"/>
            </a:pPr>
            <a:endParaRPr lang="fr-FR" sz="1400" b="1" dirty="0"/>
          </a:p>
          <a:p>
            <a:endParaRPr lang="fr-FR" sz="1000" dirty="0"/>
          </a:p>
        </p:txBody>
      </p:sp>
      <p:sp>
        <p:nvSpPr>
          <p:cNvPr id="19" name="Espace réservé du pied de page 6">
            <a:extLst>
              <a:ext uri="{FF2B5EF4-FFF2-40B4-BE49-F238E27FC236}">
                <a16:creationId xmlns:a16="http://schemas.microsoft.com/office/drawing/2014/main" id="{EF80E5F8-A218-5663-95A2-EC0B33C0E654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  <a:ea typeface="Verdana"/>
              </a:rPr>
              <a:t>Semaine des métiers du soin et de l’accompagnement – France Travail Grand Est – 20 janvier 2025</a:t>
            </a:r>
            <a:endParaRPr lang="fr-FR" dirty="0"/>
          </a:p>
        </p:txBody>
      </p:sp>
      <p:pic>
        <p:nvPicPr>
          <p:cNvPr id="31" name="Espace réservé pour une image  30" descr="Chat contour">
            <a:extLst>
              <a:ext uri="{FF2B5EF4-FFF2-40B4-BE49-F238E27FC236}">
                <a16:creationId xmlns:a16="http://schemas.microsoft.com/office/drawing/2014/main" id="{C97B3B26-E6BC-D51F-D292-F60B25197BA2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p:blipFill>
        <p:spPr>
          <a:xfrm>
            <a:off x="4404825" y="2394985"/>
            <a:ext cx="513574" cy="513572"/>
          </a:xfr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58D1FA44-31AE-6A5B-A573-0B94A7EE8E5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4379" y="578089"/>
            <a:ext cx="384081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77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1FFADF-37D5-DA82-412F-BDF49F906E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14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44" imgH="544" progId="TCLayout.ActiveDocument.1">
                  <p:embed/>
                </p:oleObj>
              </mc:Choice>
              <mc:Fallback>
                <p:oleObj name="Diapositive think-cell" r:id="rId4" imgW="544" imgH="5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1FFADF-37D5-DA82-412F-BDF49F906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8087F0B-46CF-A364-6242-6911763E269A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/>
          <a:srcRect l="9784" r="9784"/>
          <a:stretch/>
        </p:blipFill>
        <p:spPr>
          <a:xfrm>
            <a:off x="574675" y="587374"/>
            <a:ext cx="4432300" cy="5241925"/>
          </a:xfr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8C3C4154-FEF9-B475-DE44-FF43B9EDD6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819648"/>
            <a:ext cx="5438084" cy="1325563"/>
          </a:xfrm>
        </p:spPr>
        <p:txBody>
          <a:bodyPr vert="horz"/>
          <a:lstStyle/>
          <a:p>
            <a:pPr algn="ctr"/>
            <a:r>
              <a:rPr lang="fr-FR" sz="4800" dirty="0"/>
              <a:t>À vos idées et questions !</a:t>
            </a:r>
            <a:endParaRPr lang="fr-FR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4634257-6AAC-2895-6299-B4EBC6AC92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0817" y="5196170"/>
            <a:ext cx="5436508" cy="633129"/>
          </a:xfrm>
        </p:spPr>
        <p:txBody>
          <a:bodyPr/>
          <a:lstStyle/>
          <a:p>
            <a:pPr algn="ctr"/>
            <a:r>
              <a:rPr lang="fr-FR" sz="2400" dirty="0"/>
              <a:t>Merci pour votre participation.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B5036268-B6B2-9A5C-FB01-6BB9027A442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17</a:t>
            </a:fld>
            <a:r>
              <a:rPr lang="fr-FR" dirty="0"/>
              <a:t> |</a:t>
            </a:r>
          </a:p>
        </p:txBody>
      </p:sp>
      <p:sp>
        <p:nvSpPr>
          <p:cNvPr id="2" name="Espace réservé du pied de page 6">
            <a:extLst>
              <a:ext uri="{FF2B5EF4-FFF2-40B4-BE49-F238E27FC236}">
                <a16:creationId xmlns:a16="http://schemas.microsoft.com/office/drawing/2014/main" id="{62A840A0-0704-5B60-AA75-61937F2B7804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Audio de lancement national – Semaine des métiers du soin et de l’accompagnement – 7 janvier 2025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6D756D4-3CB3-5ACA-A9E4-26D7A3EB09B8}"/>
              </a:ext>
            </a:extLst>
          </p:cNvPr>
          <p:cNvSpPr txBox="1"/>
          <p:nvPr/>
        </p:nvSpPr>
        <p:spPr>
          <a:xfrm>
            <a:off x="6244771" y="3120109"/>
            <a:ext cx="5308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400" spc="-20" dirty="0">
                <a:solidFill>
                  <a:schemeClr val="tx2"/>
                </a:solidFill>
              </a:rPr>
              <a:t>Quelles sont vos souhaits d’actions régionales / locales pour 2025 ?</a:t>
            </a:r>
          </a:p>
        </p:txBody>
      </p:sp>
    </p:spTree>
    <p:extLst>
      <p:ext uri="{BB962C8B-B14F-4D97-AF65-F5344CB8AC3E}">
        <p14:creationId xmlns:p14="http://schemas.microsoft.com/office/powerpoint/2010/main" val="29350162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247C387-BC29-9819-07BF-998D5F7E79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49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44" imgH="544" progId="TCLayout.ActiveDocument.1">
                  <p:embed/>
                </p:oleObj>
              </mc:Choice>
              <mc:Fallback>
                <p:oleObj name="Diapositive think-cell" r:id="rId4" imgW="544" imgH="54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47C387-BC29-9819-07BF-998D5F7E7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188522-E253-CCA0-CDAE-ECE36EE3C5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271" y="396272"/>
            <a:ext cx="4494528" cy="747897"/>
          </a:xfrm>
        </p:spPr>
        <p:txBody>
          <a:bodyPr vert="horz"/>
          <a:lstStyle/>
          <a:p>
            <a:r>
              <a:rPr lang="fr-FR" dirty="0"/>
              <a:t>Sommai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27943C6-6F66-0F3B-5436-062EAD8A0CC2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90271" y="1546214"/>
            <a:ext cx="386557" cy="386557"/>
          </a:xfrm>
        </p:spPr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376B2-E3E1-B8E7-DE3C-DD06F8EBE15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47800" y="1600993"/>
            <a:ext cx="3561010" cy="276999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4720CF1-F5C9-BF87-D133-155005CF533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081817" y="1600993"/>
            <a:ext cx="620043" cy="276999"/>
          </a:xfrm>
        </p:spPr>
        <p:txBody>
          <a:bodyPr/>
          <a:lstStyle/>
          <a:p>
            <a:r>
              <a:rPr lang="fr-FR" dirty="0"/>
              <a:t>p.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387EEDB-A3EC-24F2-877C-BEA3ED5D2B2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90271" y="2096283"/>
            <a:ext cx="386557" cy="386557"/>
          </a:xfrm>
        </p:spPr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264061-5F4B-9380-9D03-C72E974F53A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447800" y="2151062"/>
            <a:ext cx="3561010" cy="276999"/>
          </a:xfrm>
        </p:spPr>
        <p:txBody>
          <a:bodyPr/>
          <a:lstStyle/>
          <a:p>
            <a:r>
              <a:rPr lang="fr-FR" dirty="0"/>
              <a:t>Chiffres clé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220E6EA-A46F-508A-8936-520642DF6C9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6419" y="2151062"/>
            <a:ext cx="620043" cy="276999"/>
          </a:xfrm>
        </p:spPr>
        <p:txBody>
          <a:bodyPr/>
          <a:lstStyle/>
          <a:p>
            <a:r>
              <a:rPr lang="fr-FR" dirty="0"/>
              <a:t>p.3 à 5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56FAAA-60F2-4182-AE01-1C89EBB95DA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0271" y="2646352"/>
            <a:ext cx="386557" cy="386557"/>
          </a:xfrm>
        </p:spPr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3745BC-7FE8-A49C-4463-C0A2A1B6432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47800" y="2701131"/>
            <a:ext cx="3561010" cy="276999"/>
          </a:xfrm>
        </p:spPr>
        <p:txBody>
          <a:bodyPr/>
          <a:lstStyle/>
          <a:p>
            <a:r>
              <a:rPr lang="fr-FR" dirty="0"/>
              <a:t>Bila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8090E33-672D-1A07-4D1A-30C03E3F060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366419" y="2701131"/>
            <a:ext cx="620043" cy="276999"/>
          </a:xfrm>
        </p:spPr>
        <p:txBody>
          <a:bodyPr/>
          <a:lstStyle/>
          <a:p>
            <a:r>
              <a:rPr lang="fr-FR" dirty="0"/>
              <a:t>p.6 à 7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4F86050-B026-1A29-F44F-3C2BA9C210C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90271" y="3196421"/>
            <a:ext cx="386557" cy="386557"/>
          </a:xfrm>
        </p:spPr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C2E52E-E9F1-F093-D893-9761C9DECB8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447800" y="3251200"/>
            <a:ext cx="3561010" cy="276999"/>
          </a:xfrm>
        </p:spPr>
        <p:txBody>
          <a:bodyPr/>
          <a:lstStyle/>
          <a:p>
            <a:r>
              <a:rPr lang="fr-FR" dirty="0"/>
              <a:t>Les enjeux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6AAD5C-E79B-B173-8C94-4E6675C6B37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760492" y="3196116"/>
            <a:ext cx="1005632" cy="387167"/>
          </a:xfrm>
        </p:spPr>
        <p:txBody>
          <a:bodyPr/>
          <a:lstStyle/>
          <a:p>
            <a:r>
              <a:rPr lang="fr-FR" dirty="0"/>
              <a:t>p.8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E04D3C0B-F0F3-EF78-F1E2-5F059BC26A56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90271" y="3746489"/>
            <a:ext cx="386557" cy="386557"/>
          </a:xfrm>
        </p:spPr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AACC02-A774-0AA3-8E61-EE2BBB0777D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447800" y="3801268"/>
            <a:ext cx="3561010" cy="276999"/>
          </a:xfrm>
        </p:spPr>
        <p:txBody>
          <a:bodyPr/>
          <a:lstStyle/>
          <a:p>
            <a:r>
              <a:rPr lang="fr-FR" dirty="0"/>
              <a:t>Les métier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CE579D-1C5B-20F3-4143-5F99591811B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146082" y="3746184"/>
            <a:ext cx="620043" cy="276999"/>
          </a:xfrm>
        </p:spPr>
        <p:txBody>
          <a:bodyPr/>
          <a:lstStyle/>
          <a:p>
            <a:r>
              <a:rPr lang="fr-FR" dirty="0"/>
              <a:t>p.9</a:t>
            </a:r>
          </a:p>
        </p:txBody>
      </p:sp>
      <p:sp>
        <p:nvSpPr>
          <p:cNvPr id="147" name="Espace réservé du numéro de diapositive 146">
            <a:extLst>
              <a:ext uri="{FF2B5EF4-FFF2-40B4-BE49-F238E27FC236}">
                <a16:creationId xmlns:a16="http://schemas.microsoft.com/office/drawing/2014/main" id="{A27D11E7-5356-F07F-BEBB-D55D715CF466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0" y="6336577"/>
            <a:ext cx="720000" cy="169277"/>
          </a:xfrm>
        </p:spPr>
        <p:txBody>
          <a:bodyPr/>
          <a:lstStyle/>
          <a:p>
            <a:fld id="{22A8F993-E9C6-4879-8876-5511108B5C62}" type="slidenum">
              <a:rPr lang="fr-FR" smtClean="0"/>
              <a:pPr/>
              <a:t>2</a:t>
            </a:fld>
            <a:r>
              <a:rPr lang="fr-FR" dirty="0"/>
              <a:t> |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6126F1B-2ACB-84FA-ABF1-65AD7CE08206}"/>
              </a:ext>
            </a:extLst>
          </p:cNvPr>
          <p:cNvSpPr txBox="1">
            <a:spLocks/>
          </p:cNvSpPr>
          <p:nvPr/>
        </p:nvSpPr>
        <p:spPr>
          <a:xfrm>
            <a:off x="890271" y="4296557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fr-FR" dirty="0"/>
              <a:t>6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E5AD42A-0314-EDEF-EF68-0AB3B7E4CCDB}"/>
              </a:ext>
            </a:extLst>
          </p:cNvPr>
          <p:cNvSpPr txBox="1">
            <a:spLocks/>
          </p:cNvSpPr>
          <p:nvPr/>
        </p:nvSpPr>
        <p:spPr>
          <a:xfrm>
            <a:off x="1447800" y="4350189"/>
            <a:ext cx="356101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Les actions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264F382B-6AFF-6450-BA50-6561C2DD96F9}"/>
              </a:ext>
            </a:extLst>
          </p:cNvPr>
          <p:cNvSpPr txBox="1">
            <a:spLocks/>
          </p:cNvSpPr>
          <p:nvPr/>
        </p:nvSpPr>
        <p:spPr>
          <a:xfrm>
            <a:off x="5314060" y="4293958"/>
            <a:ext cx="904645" cy="30454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10 à 11</a:t>
            </a:r>
          </a:p>
        </p:txBody>
      </p:sp>
      <p:sp>
        <p:nvSpPr>
          <p:cNvPr id="23" name="Text Placeholder 16">
            <a:extLst>
              <a:ext uri="{FF2B5EF4-FFF2-40B4-BE49-F238E27FC236}">
                <a16:creationId xmlns:a16="http://schemas.microsoft.com/office/drawing/2014/main" id="{4BFF4E7C-E340-D3FD-3E6A-1640693153EF}"/>
              </a:ext>
            </a:extLst>
          </p:cNvPr>
          <p:cNvSpPr txBox="1">
            <a:spLocks/>
          </p:cNvSpPr>
          <p:nvPr/>
        </p:nvSpPr>
        <p:spPr>
          <a:xfrm>
            <a:off x="890270" y="4846625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fr-FR" dirty="0"/>
              <a:t>7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501AD6F9-987D-C6C3-39A7-73A7C993A4B6}"/>
              </a:ext>
            </a:extLst>
          </p:cNvPr>
          <p:cNvSpPr txBox="1">
            <a:spLocks/>
          </p:cNvSpPr>
          <p:nvPr/>
        </p:nvSpPr>
        <p:spPr>
          <a:xfrm>
            <a:off x="1447800" y="4899110"/>
            <a:ext cx="356101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Les partenaires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39BBE72D-F79D-ADFC-438A-63D5E1A3D5D4}"/>
              </a:ext>
            </a:extLst>
          </p:cNvPr>
          <p:cNvSpPr txBox="1">
            <a:spLocks/>
          </p:cNvSpPr>
          <p:nvPr/>
        </p:nvSpPr>
        <p:spPr>
          <a:xfrm>
            <a:off x="5451654" y="4902118"/>
            <a:ext cx="766581" cy="3453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12 à 13</a:t>
            </a:r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02C8C777-F1E7-2882-54A3-7E3F6365E739}"/>
              </a:ext>
            </a:extLst>
          </p:cNvPr>
          <p:cNvSpPr txBox="1">
            <a:spLocks/>
          </p:cNvSpPr>
          <p:nvPr/>
        </p:nvSpPr>
        <p:spPr>
          <a:xfrm>
            <a:off x="890270" y="5396694"/>
            <a:ext cx="386557" cy="386557"/>
          </a:xfrm>
          <a:prstGeom prst="ellipse">
            <a:avLst/>
          </a:prstGeom>
          <a:solidFill>
            <a:schemeClr val="accent2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fr-FR" dirty="0"/>
              <a:t>8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ED778C9-45AF-8321-F0DB-B625F0CA478E}"/>
              </a:ext>
            </a:extLst>
          </p:cNvPr>
          <p:cNvSpPr txBox="1">
            <a:spLocks/>
          </p:cNvSpPr>
          <p:nvPr/>
        </p:nvSpPr>
        <p:spPr>
          <a:xfrm>
            <a:off x="1447800" y="5451472"/>
            <a:ext cx="356101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Les étapes clés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C808494D-218C-CD90-22F5-14C8115769C9}"/>
              </a:ext>
            </a:extLst>
          </p:cNvPr>
          <p:cNvSpPr txBox="1">
            <a:spLocks/>
          </p:cNvSpPr>
          <p:nvPr/>
        </p:nvSpPr>
        <p:spPr>
          <a:xfrm>
            <a:off x="5311353" y="5455193"/>
            <a:ext cx="620043" cy="2769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b="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.14</a:t>
            </a:r>
          </a:p>
        </p:txBody>
      </p:sp>
      <p:sp>
        <p:nvSpPr>
          <p:cNvPr id="29" name="Espace réservé du pied de page 6">
            <a:extLst>
              <a:ext uri="{FF2B5EF4-FFF2-40B4-BE49-F238E27FC236}">
                <a16:creationId xmlns:a16="http://schemas.microsoft.com/office/drawing/2014/main" id="{8683FF2E-5AFC-D3B3-3CC8-71266CC9D277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911487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2DC21-4833-6EC4-63BA-A8CFC804AF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F170165-5B42-3E41-F930-17E2D47213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4877" y="352146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7CD5D09-BF52-A0CF-DB2B-F03C50276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460" y="-138691"/>
            <a:ext cx="6221412" cy="1325563"/>
          </a:xfrm>
        </p:spPr>
        <p:txBody>
          <a:bodyPr/>
          <a:lstStyle/>
          <a:p>
            <a:r>
              <a:rPr lang="fr-FR" dirty="0"/>
              <a:t>Les chiffres clés</a:t>
            </a: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EFD5F36D-20BB-7544-4810-98A0F062214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3</a:t>
            </a:fld>
            <a:r>
              <a:rPr lang="fr-FR"/>
              <a:t> |</a:t>
            </a:r>
            <a:endParaRPr lang="fr-FR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623E6B1A-A71B-CD9E-1E1B-D2E01FF297D7}"/>
              </a:ext>
            </a:extLst>
          </p:cNvPr>
          <p:cNvSpPr txBox="1">
            <a:spLocks/>
          </p:cNvSpPr>
          <p:nvPr/>
        </p:nvSpPr>
        <p:spPr>
          <a:xfrm>
            <a:off x="1286871" y="1093318"/>
            <a:ext cx="8434185" cy="5215743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 spc="-2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4,9 millions d’emplois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dont:</a:t>
            </a: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2 millions de salariés en établissements privés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1,2 million de salariés dans la fonction publique hospitalière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0,85 millions de salariées chez des particuliers employeurs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0,54 million de non salarié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0,26 million de salariées de la fonction publique territoriale (social)</a:t>
            </a: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836 000 établissements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  </a:t>
            </a: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330 730 projets de recrutements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selon BMO 2024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	dont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68,2%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 jugés comme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difficiles</a:t>
            </a: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Dans le Top 10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étiers les plus recherchés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ar les employeurs,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2 métiers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: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	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Aides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à domicile et auxiliaires de vie </a:t>
            </a:r>
          </a:p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	Aides-soignants</a:t>
            </a:r>
          </a:p>
          <a:p>
            <a:endParaRPr lang="fr-FR" sz="1200" b="1" dirty="0">
              <a:solidFill>
                <a:schemeClr val="tx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fr-FR" sz="1200" b="1" dirty="0">
              <a:solidFill>
                <a:schemeClr val="tx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612 000 offres d’emploi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enregistrées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 France Travail dans le secteur 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	soit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5,7%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 offres d’emploi au national</a:t>
            </a:r>
          </a:p>
          <a:p>
            <a:r>
              <a:rPr lang="fr-FR" sz="1200" b="1" i="1" dirty="0">
                <a:solidFill>
                  <a:srgbClr val="00B0F0"/>
                </a:solidFill>
                <a:ea typeface="Verdana" panose="020B0604030504040204" pitchFamily="34" charset="0"/>
              </a:rPr>
              <a:t>34 925 offres d’emploi enregistrées en Grand Est au 30 Septembre 2024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	</a:t>
            </a:r>
          </a:p>
          <a:p>
            <a:endParaRPr lang="fr-FR" sz="1200" dirty="0">
              <a:solidFill>
                <a:schemeClr val="tx1">
                  <a:lumMod val="75000"/>
                </a:schemeClr>
              </a:solidFill>
              <a:ea typeface="Verdana" panose="020B0604030504040204" pitchFamily="34" charset="0"/>
            </a:endParaRPr>
          </a:p>
          <a:p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766 000 demandeurs d’emploi 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recherchant un métier de la santé et de l’action sociale 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	soit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14,1%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 des demandeurs d’emploi nationaux </a:t>
            </a:r>
          </a:p>
          <a:p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	dont </a:t>
            </a:r>
            <a:r>
              <a:rPr lang="fr-FR" sz="1200" b="1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37%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ea typeface="Verdana" panose="020B0604030504040204" pitchFamily="34" charset="0"/>
              </a:rPr>
              <a:t> en cat C contre 28% dans les autres métiers.</a:t>
            </a:r>
          </a:p>
          <a:p>
            <a:r>
              <a:rPr lang="fr-FR" sz="1200" b="1" i="1" dirty="0">
                <a:solidFill>
                  <a:srgbClr val="00B0F0"/>
                </a:solidFill>
                <a:ea typeface="Verdana" panose="020B0604030504040204" pitchFamily="34" charset="0"/>
              </a:rPr>
              <a:t>46 722 demandeurs d’emploi cat. A, B et C en Grand Est au 30 Septembre 2024 (20 458 DE cat. A)</a:t>
            </a:r>
          </a:p>
          <a:p>
            <a:endParaRPr lang="fr-FR" sz="1200" dirty="0">
              <a:ea typeface="Verdana" panose="020B0604030504040204" pitchFamily="34" charset="0"/>
            </a:endParaRPr>
          </a:p>
          <a:p>
            <a:endParaRPr lang="fr-FR" sz="1200" dirty="0">
              <a:ea typeface="Verdana" panose="020B0604030504040204" pitchFamily="34" charset="0"/>
            </a:endParaRPr>
          </a:p>
          <a:p>
            <a:endParaRPr lang="fr-FR" sz="12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fr-FR" sz="1200" dirty="0">
              <a:ea typeface="Verdana" panose="020B0604030504040204" pitchFamily="34" charset="0"/>
            </a:endParaRPr>
          </a:p>
          <a:p>
            <a:endParaRPr lang="fr-FR" sz="1200" dirty="0">
              <a:ea typeface="Verdana" panose="020B0604030504040204" pitchFamily="34" charset="0"/>
            </a:endParaRPr>
          </a:p>
          <a:p>
            <a:endParaRPr lang="fr-FR" sz="2100" dirty="0">
              <a:ea typeface="Verdana" panose="020B0604030504040204" pitchFamily="34" charset="0"/>
            </a:endParaRPr>
          </a:p>
          <a:p>
            <a:endParaRPr lang="fr-FR" sz="2100" dirty="0">
              <a:ea typeface="Verdana" panose="020B0604030504040204" pitchFamily="34" charset="0"/>
            </a:endParaRPr>
          </a:p>
          <a:p>
            <a:endParaRPr lang="fr-FR" sz="2100" dirty="0">
              <a:ea typeface="Verdana" panose="020B0604030504040204" pitchFamily="34" charset="0"/>
            </a:endParaRPr>
          </a:p>
          <a:p>
            <a:endParaRPr lang="fr-FR" sz="2100" dirty="0">
              <a:ea typeface="Verdana" panose="020B0604030504040204" pitchFamily="34" charset="0"/>
            </a:endParaRPr>
          </a:p>
          <a:p>
            <a:endParaRPr lang="fr-FR" sz="3500" dirty="0"/>
          </a:p>
          <a:p>
            <a:endParaRPr lang="fr-FR" sz="3500" dirty="0"/>
          </a:p>
          <a:p>
            <a:endParaRPr lang="fr-FR" dirty="0"/>
          </a:p>
          <a:p>
            <a:endParaRPr lang="fr-FR" dirty="0"/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6D5F15B1-31D3-E395-4B5E-EB5F08DC95F4}"/>
              </a:ext>
            </a:extLst>
          </p:cNvPr>
          <p:cNvGrpSpPr/>
          <p:nvPr/>
        </p:nvGrpSpPr>
        <p:grpSpPr>
          <a:xfrm>
            <a:off x="7768261" y="1205722"/>
            <a:ext cx="4150221" cy="4124836"/>
            <a:chOff x="7429069" y="1201448"/>
            <a:chExt cx="4394675" cy="4341641"/>
          </a:xfrm>
        </p:grpSpPr>
        <p:pic>
          <p:nvPicPr>
            <p:cNvPr id="21" name="Image 20" descr="Une image contenant Visage humain, habits, personne, jeune enfant&#10;&#10;Description générée automatiquement">
              <a:extLst>
                <a:ext uri="{FF2B5EF4-FFF2-40B4-BE49-F238E27FC236}">
                  <a16:creationId xmlns:a16="http://schemas.microsoft.com/office/drawing/2014/main" id="{BC6454A0-6CE6-C8DA-4C5B-0741D0C4D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9069" y="1204482"/>
              <a:ext cx="2160760" cy="2047171"/>
            </a:xfrm>
            <a:prstGeom prst="rect">
              <a:avLst/>
            </a:prstGeom>
            <a:ln w="15875">
              <a:solidFill>
                <a:srgbClr val="7030A0"/>
              </a:solidFill>
            </a:ln>
          </p:spPr>
        </p:pic>
        <p:pic>
          <p:nvPicPr>
            <p:cNvPr id="22" name="Image 21" descr="Une image contenant personne, Équipement médical, médical, soins de santé&#10;&#10;Description générée automatiquement">
              <a:extLst>
                <a:ext uri="{FF2B5EF4-FFF2-40B4-BE49-F238E27FC236}">
                  <a16:creationId xmlns:a16="http://schemas.microsoft.com/office/drawing/2014/main" id="{45CBF0EB-54A5-5E53-D3A2-0D91A9370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2984" y="1201448"/>
              <a:ext cx="2160759" cy="2047170"/>
            </a:xfrm>
            <a:prstGeom prst="rect">
              <a:avLst/>
            </a:prstGeom>
            <a:ln w="15875">
              <a:solidFill>
                <a:srgbClr val="266B46"/>
              </a:solidFill>
            </a:ln>
          </p:spPr>
        </p:pic>
        <p:pic>
          <p:nvPicPr>
            <p:cNvPr id="23" name="Image 22" descr="Une image contenant habits, personne, fauteuil roulant, roue&#10;&#10;Description générée automatiquement">
              <a:extLst>
                <a:ext uri="{FF2B5EF4-FFF2-40B4-BE49-F238E27FC236}">
                  <a16:creationId xmlns:a16="http://schemas.microsoft.com/office/drawing/2014/main" id="{826BD64E-F0EE-E8FB-EA13-E66D0264F6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9069" y="3315155"/>
              <a:ext cx="2160760" cy="2227934"/>
            </a:xfrm>
            <a:prstGeom prst="rect">
              <a:avLst/>
            </a:prstGeom>
            <a:ln w="15875">
              <a:solidFill>
                <a:srgbClr val="266B46"/>
              </a:solidFill>
            </a:ln>
          </p:spPr>
        </p:pic>
        <p:pic>
          <p:nvPicPr>
            <p:cNvPr id="24" name="Image 23" descr="Une image contenant habits, personne, Visage humain, intérieur&#10;&#10;Description générée automatiquement">
              <a:extLst>
                <a:ext uri="{FF2B5EF4-FFF2-40B4-BE49-F238E27FC236}">
                  <a16:creationId xmlns:a16="http://schemas.microsoft.com/office/drawing/2014/main" id="{D5D1C4EC-7950-B327-A72F-3DDA0B4CCD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2984" y="3315155"/>
              <a:ext cx="2160760" cy="2227662"/>
            </a:xfrm>
            <a:prstGeom prst="rect">
              <a:avLst/>
            </a:prstGeom>
            <a:ln w="15875">
              <a:solidFill>
                <a:srgbClr val="7030A0"/>
              </a:solidFill>
            </a:ln>
          </p:spPr>
        </p:pic>
      </p:grpSp>
      <p:pic>
        <p:nvPicPr>
          <p:cNvPr id="29" name="Graphique 28" descr="Connexions contour">
            <a:extLst>
              <a:ext uri="{FF2B5EF4-FFF2-40B4-BE49-F238E27FC236}">
                <a16:creationId xmlns:a16="http://schemas.microsoft.com/office/drawing/2014/main" id="{07118028-9DB9-EA24-358D-EFD2A92BC0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47211" y="1082385"/>
            <a:ext cx="593902" cy="593902"/>
          </a:xfrm>
          <a:prstGeom prst="rect">
            <a:avLst/>
          </a:prstGeom>
        </p:spPr>
      </p:pic>
      <p:pic>
        <p:nvPicPr>
          <p:cNvPr id="51" name="Image 50" descr="Une image contenant Graphique, cercle, Police, graphisme&#10;&#10;Description générée automatiquement">
            <a:extLst>
              <a:ext uri="{FF2B5EF4-FFF2-40B4-BE49-F238E27FC236}">
                <a16:creationId xmlns:a16="http://schemas.microsoft.com/office/drawing/2014/main" id="{5503EF4B-8962-87AF-2673-EB1BCD88CF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77" y="3145046"/>
            <a:ext cx="464336" cy="464336"/>
          </a:xfrm>
          <a:prstGeom prst="rect">
            <a:avLst/>
          </a:prstGeom>
        </p:spPr>
      </p:pic>
      <p:pic>
        <p:nvPicPr>
          <p:cNvPr id="53" name="Image 52" descr="Une image contenant Graphique, conception, Police, capture d’écran&#10;&#10;Description générée automatiquement">
            <a:extLst>
              <a:ext uri="{FF2B5EF4-FFF2-40B4-BE49-F238E27FC236}">
                <a16:creationId xmlns:a16="http://schemas.microsoft.com/office/drawing/2014/main" id="{DFD21192-A5B5-C45C-9D0C-51BF82E658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962" y="4824353"/>
            <a:ext cx="425643" cy="425643"/>
          </a:xfrm>
          <a:prstGeom prst="rect">
            <a:avLst/>
          </a:prstGeom>
        </p:spPr>
      </p:pic>
      <p:pic>
        <p:nvPicPr>
          <p:cNvPr id="55" name="Image 54" descr="Une image contenant Graphique, Police, graphisme, symbole&#10;&#10;Description générée automatiquement">
            <a:extLst>
              <a:ext uri="{FF2B5EF4-FFF2-40B4-BE49-F238E27FC236}">
                <a16:creationId xmlns:a16="http://schemas.microsoft.com/office/drawing/2014/main" id="{095D11FB-FAC5-CE51-CE07-B03173C4287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65" y="5554493"/>
            <a:ext cx="583035" cy="583035"/>
          </a:xfrm>
          <a:prstGeom prst="rect">
            <a:avLst/>
          </a:prstGeom>
        </p:spPr>
      </p:pic>
      <p:pic>
        <p:nvPicPr>
          <p:cNvPr id="57" name="Image 56" descr="Une image contenant Graphique, symbole, Police, conception&#10;&#10;Description générée automatiquement">
            <a:extLst>
              <a:ext uri="{FF2B5EF4-FFF2-40B4-BE49-F238E27FC236}">
                <a16:creationId xmlns:a16="http://schemas.microsoft.com/office/drawing/2014/main" id="{79E2B603-AA34-D39B-C41C-B4B657F0437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342" y="3921964"/>
            <a:ext cx="478806" cy="478806"/>
          </a:xfrm>
          <a:prstGeom prst="rect">
            <a:avLst/>
          </a:prstGeom>
        </p:spPr>
      </p:pic>
      <p:pic>
        <p:nvPicPr>
          <p:cNvPr id="59" name="Image 58" descr="Une image contenant Rectangle, art, Graphique, motif&#10;&#10;Description générée automatiquement">
            <a:extLst>
              <a:ext uri="{FF2B5EF4-FFF2-40B4-BE49-F238E27FC236}">
                <a16:creationId xmlns:a16="http://schemas.microsoft.com/office/drawing/2014/main" id="{7C52B315-7B9E-A242-1F47-B45B0817C17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575" y="2453857"/>
            <a:ext cx="531316" cy="531316"/>
          </a:xfrm>
          <a:prstGeom prst="rect">
            <a:avLst/>
          </a:prstGeom>
        </p:spPr>
      </p:pic>
      <p:sp>
        <p:nvSpPr>
          <p:cNvPr id="5" name="Espace réservé du pied de page 6">
            <a:extLst>
              <a:ext uri="{FF2B5EF4-FFF2-40B4-BE49-F238E27FC236}">
                <a16:creationId xmlns:a16="http://schemas.microsoft.com/office/drawing/2014/main" id="{31E00820-D543-2848-37C5-C64CA00ED7D4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2159442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1E72E6D-7011-9443-BFAF-C5290E782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541" y="576723"/>
            <a:ext cx="10837958" cy="1141949"/>
          </a:xfrm>
        </p:spPr>
        <p:txBody>
          <a:bodyPr/>
          <a:lstStyle/>
          <a:p>
            <a:r>
              <a:rPr lang="fr-FR" dirty="0"/>
              <a:t>132 731 projets non saisonniers (68,7% du total)</a:t>
            </a:r>
            <a:br>
              <a:rPr lang="fr-FR" dirty="0"/>
            </a:br>
            <a:r>
              <a:rPr lang="fr-FR" sz="1200" i="1" dirty="0"/>
              <a:t>source BMO Grand Est 2024</a:t>
            </a:r>
            <a:endParaRPr lang="fr-FR" sz="1200" i="1">
              <a:ea typeface="Verdana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AC4C05F-CB2B-2242-94FD-48600CC9F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4DB2B-3EFD-4766-A6C9-C9A5E84D2897}" type="slidenum">
              <a:rPr lang="fr-FR" smtClean="0"/>
              <a:t>4</a:t>
            </a:fld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72E111-986F-294B-8CAE-BA101B19EB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245562"/>
            <a:ext cx="2057426" cy="265741"/>
          </a:xfrm>
        </p:spPr>
        <p:txBody>
          <a:bodyPr/>
          <a:lstStyle/>
          <a:p>
            <a:r>
              <a:rPr lang="fr-FR" dirty="0"/>
              <a:t>LES Métiers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6699" y="1712490"/>
            <a:ext cx="7460416" cy="424193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" name="Encre 8">
                <a:extLst>
                  <a:ext uri="{FF2B5EF4-FFF2-40B4-BE49-F238E27FC236}">
                    <a16:creationId xmlns:a16="http://schemas.microsoft.com/office/drawing/2014/main" id="{04AF861D-D738-8ED4-B64E-29182EB7A79B}"/>
                  </a:ext>
                </a:extLst>
              </p14:cNvPr>
              <p14:cNvContentPartPr/>
              <p14:nvPr/>
            </p14:nvContentPartPr>
            <p14:xfrm>
              <a:off x="2554881" y="2849001"/>
              <a:ext cx="6850800" cy="720"/>
            </p14:xfrm>
          </p:contentPart>
        </mc:Choice>
        <mc:Fallback xmlns="">
          <p:pic>
            <p:nvPicPr>
              <p:cNvPr id="9" name="Encre 8">
                <a:extLst>
                  <a:ext uri="{FF2B5EF4-FFF2-40B4-BE49-F238E27FC236}">
                    <a16:creationId xmlns:a16="http://schemas.microsoft.com/office/drawing/2014/main" id="{04AF861D-D738-8ED4-B64E-29182EB7A79B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500881" y="2633001"/>
                <a:ext cx="695844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3" name="Encre 12">
                <a:extLst>
                  <a:ext uri="{FF2B5EF4-FFF2-40B4-BE49-F238E27FC236}">
                    <a16:creationId xmlns:a16="http://schemas.microsoft.com/office/drawing/2014/main" id="{FD6E85B7-B459-B130-D8C9-4D2423F9A17C}"/>
                  </a:ext>
                </a:extLst>
              </p14:cNvPr>
              <p14:cNvContentPartPr/>
              <p14:nvPr/>
            </p14:nvContentPartPr>
            <p14:xfrm>
              <a:off x="2538681" y="3363081"/>
              <a:ext cx="6850440" cy="720"/>
            </p14:xfrm>
          </p:contentPart>
        </mc:Choice>
        <mc:Fallback xmlns="">
          <p:pic>
            <p:nvPicPr>
              <p:cNvPr id="13" name="Encre 12">
                <a:extLst>
                  <a:ext uri="{FF2B5EF4-FFF2-40B4-BE49-F238E27FC236}">
                    <a16:creationId xmlns:a16="http://schemas.microsoft.com/office/drawing/2014/main" id="{FD6E85B7-B459-B130-D8C9-4D2423F9A17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485041" y="3147081"/>
                <a:ext cx="695808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5" name="Encre 14">
                <a:extLst>
                  <a:ext uri="{FF2B5EF4-FFF2-40B4-BE49-F238E27FC236}">
                    <a16:creationId xmlns:a16="http://schemas.microsoft.com/office/drawing/2014/main" id="{1A8EA682-255F-8C58-EAD0-8A92EB207E71}"/>
                  </a:ext>
                </a:extLst>
              </p14:cNvPr>
              <p14:cNvContentPartPr/>
              <p14:nvPr/>
            </p14:nvContentPartPr>
            <p14:xfrm>
              <a:off x="2530401" y="4057161"/>
              <a:ext cx="6818400" cy="720"/>
            </p14:xfrm>
          </p:contentPart>
        </mc:Choice>
        <mc:Fallback xmlns="">
          <p:pic>
            <p:nvPicPr>
              <p:cNvPr id="15" name="Encre 14">
                <a:extLst>
                  <a:ext uri="{FF2B5EF4-FFF2-40B4-BE49-F238E27FC236}">
                    <a16:creationId xmlns:a16="http://schemas.microsoft.com/office/drawing/2014/main" id="{1A8EA682-255F-8C58-EAD0-8A92EB207E71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476401" y="3841161"/>
                <a:ext cx="692604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20" name="Encre 19">
                <a:extLst>
                  <a:ext uri="{FF2B5EF4-FFF2-40B4-BE49-F238E27FC236}">
                    <a16:creationId xmlns:a16="http://schemas.microsoft.com/office/drawing/2014/main" id="{BD362CC7-4CB7-B930-CF05-49B6D93E5124}"/>
                  </a:ext>
                </a:extLst>
              </p14:cNvPr>
              <p14:cNvContentPartPr/>
              <p14:nvPr/>
            </p14:nvContentPartPr>
            <p14:xfrm>
              <a:off x="2334561" y="1844961"/>
              <a:ext cx="4418640" cy="720"/>
            </p14:xfrm>
          </p:contentPart>
        </mc:Choice>
        <mc:Fallback xmlns="">
          <p:pic>
            <p:nvPicPr>
              <p:cNvPr id="20" name="Encre 19">
                <a:extLst>
                  <a:ext uri="{FF2B5EF4-FFF2-40B4-BE49-F238E27FC236}">
                    <a16:creationId xmlns:a16="http://schemas.microsoft.com/office/drawing/2014/main" id="{BD362CC7-4CB7-B930-CF05-49B6D93E5124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280561" y="1628961"/>
                <a:ext cx="452628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22" name="Encre 21">
                <a:extLst>
                  <a:ext uri="{FF2B5EF4-FFF2-40B4-BE49-F238E27FC236}">
                    <a16:creationId xmlns:a16="http://schemas.microsoft.com/office/drawing/2014/main" id="{BBC58582-EE18-2881-D114-D6B4F73D7FB8}"/>
                  </a:ext>
                </a:extLst>
              </p14:cNvPr>
              <p14:cNvContentPartPr/>
              <p14:nvPr/>
            </p14:nvContentPartPr>
            <p14:xfrm>
              <a:off x="2326281" y="2057001"/>
              <a:ext cx="4564800" cy="720"/>
            </p14:xfrm>
          </p:contentPart>
        </mc:Choice>
        <mc:Fallback xmlns="">
          <p:pic>
            <p:nvPicPr>
              <p:cNvPr id="22" name="Encre 21">
                <a:extLst>
                  <a:ext uri="{FF2B5EF4-FFF2-40B4-BE49-F238E27FC236}">
                    <a16:creationId xmlns:a16="http://schemas.microsoft.com/office/drawing/2014/main" id="{BBC58582-EE18-2881-D114-D6B4F73D7FB8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272641" y="1841001"/>
                <a:ext cx="4672440" cy="432000"/>
              </a:xfrm>
              <a:prstGeom prst="rect">
                <a:avLst/>
              </a:prstGeom>
            </p:spPr>
          </p:pic>
        </mc:Fallback>
      </mc:AlternateContent>
      <p:sp>
        <p:nvSpPr>
          <p:cNvPr id="4" name="Espace réservé du pied de page 6">
            <a:extLst>
              <a:ext uri="{FF2B5EF4-FFF2-40B4-BE49-F238E27FC236}">
                <a16:creationId xmlns:a16="http://schemas.microsoft.com/office/drawing/2014/main" id="{3BD3B892-92CE-067F-3A52-4A5464C309CD}"/>
              </a:ext>
            </a:extLst>
          </p:cNvPr>
          <p:cNvSpPr txBox="1">
            <a:spLocks/>
          </p:cNvSpPr>
          <p:nvPr/>
        </p:nvSpPr>
        <p:spPr>
          <a:xfrm>
            <a:off x="1270773" y="6476253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1345116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1E72E6D-7011-9443-BFAF-C5290E782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180" y="1079033"/>
            <a:ext cx="3379353" cy="2339969"/>
          </a:xfrm>
        </p:spPr>
        <p:txBody>
          <a:bodyPr>
            <a:normAutofit/>
          </a:bodyPr>
          <a:lstStyle/>
          <a:p>
            <a:r>
              <a:rPr lang="fr-FR" dirty="0"/>
              <a:t>Les 20 métiers avec </a:t>
            </a:r>
            <a:br>
              <a:rPr lang="fr-FR" dirty="0"/>
            </a:br>
            <a:r>
              <a:rPr lang="fr-FR" dirty="0"/>
              <a:t>la plus forte part</a:t>
            </a:r>
            <a:br>
              <a:rPr lang="fr-FR" dirty="0"/>
            </a:br>
            <a:r>
              <a:rPr lang="fr-FR" dirty="0"/>
              <a:t>de tensions </a:t>
            </a:r>
            <a:br>
              <a:rPr lang="fr-FR" dirty="0"/>
            </a:br>
            <a:r>
              <a:rPr lang="fr-FR" dirty="0"/>
              <a:t>de recrutement</a:t>
            </a:r>
            <a:r>
              <a:rPr lang="fr-FR" sz="1800" dirty="0"/>
              <a:t>*</a:t>
            </a:r>
            <a:br>
              <a:rPr lang="fr-FR" sz="1800" dirty="0"/>
            </a:br>
            <a:r>
              <a:rPr lang="fr-FR" sz="1200" i="1" dirty="0">
                <a:ea typeface="Verdana"/>
              </a:rPr>
              <a:t>source BMO Grand Est 2024</a:t>
            </a:r>
            <a:endParaRPr lang="fr-FR" sz="1200" i="1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AC4C05F-CB2B-2242-94FD-48600CC9F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14DB2B-3EFD-4766-A6C9-C9A5E84D2897}" type="slidenum">
              <a:rPr lang="fr-FR" smtClean="0"/>
              <a:t>5</a:t>
            </a:fld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72E111-986F-294B-8CAE-BA101B19EB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0000" y="245562"/>
            <a:ext cx="2057426" cy="265741"/>
          </a:xfrm>
        </p:spPr>
        <p:txBody>
          <a:bodyPr>
            <a:normAutofit fontScale="92500" lnSpcReduction="10000"/>
          </a:bodyPr>
          <a:lstStyle/>
          <a:p>
            <a:r>
              <a:rPr lang="fr-FR" dirty="0"/>
              <a:t>TENSION DE RECRUTEMENT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1146426" y="6280223"/>
            <a:ext cx="47686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/>
              <a:t>*et au moins 0,5% de projets</a:t>
            </a:r>
          </a:p>
        </p:txBody>
      </p:sp>
      <p:pic>
        <p:nvPicPr>
          <p:cNvPr id="13" name="Image 12" descr="Une image contenant texte, capture d’écran, nombre, Police&#10;&#10;Description générée automatiquement">
            <a:extLst>
              <a:ext uri="{FF2B5EF4-FFF2-40B4-BE49-F238E27FC236}">
                <a16:creationId xmlns:a16="http://schemas.microsoft.com/office/drawing/2014/main" id="{5D71C5A6-BAC9-5375-1590-037CE5710C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7066" y="674500"/>
            <a:ext cx="7118689" cy="5593396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Encre 3">
                <a:extLst>
                  <a:ext uri="{FF2B5EF4-FFF2-40B4-BE49-F238E27FC236}">
                    <a16:creationId xmlns:a16="http://schemas.microsoft.com/office/drawing/2014/main" id="{7FB8E61A-1033-772D-D113-46B1ED949F57}"/>
                  </a:ext>
                </a:extLst>
              </p14:cNvPr>
              <p14:cNvContentPartPr/>
              <p14:nvPr/>
            </p14:nvContentPartPr>
            <p14:xfrm>
              <a:off x="4506441" y="2130441"/>
              <a:ext cx="6523920" cy="720"/>
            </p14:xfrm>
          </p:contentPart>
        </mc:Choice>
        <mc:Fallback xmlns="">
          <p:pic>
            <p:nvPicPr>
              <p:cNvPr id="4" name="Encre 3">
                <a:extLst>
                  <a:ext uri="{FF2B5EF4-FFF2-40B4-BE49-F238E27FC236}">
                    <a16:creationId xmlns:a16="http://schemas.microsoft.com/office/drawing/2014/main" id="{7FB8E61A-1033-772D-D113-46B1ED949F5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452441" y="1914441"/>
                <a:ext cx="6631560" cy="432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9" name="Encre 8">
                <a:extLst>
                  <a:ext uri="{FF2B5EF4-FFF2-40B4-BE49-F238E27FC236}">
                    <a16:creationId xmlns:a16="http://schemas.microsoft.com/office/drawing/2014/main" id="{3F767081-C242-EC9D-3C5C-987945C7EBAE}"/>
                  </a:ext>
                </a:extLst>
              </p14:cNvPr>
              <p14:cNvContentPartPr/>
              <p14:nvPr/>
            </p14:nvContentPartPr>
            <p14:xfrm>
              <a:off x="4530921" y="4873641"/>
              <a:ext cx="6540480" cy="720"/>
            </p14:xfrm>
          </p:contentPart>
        </mc:Choice>
        <mc:Fallback xmlns="">
          <p:pic>
            <p:nvPicPr>
              <p:cNvPr id="9" name="Encre 8">
                <a:extLst>
                  <a:ext uri="{FF2B5EF4-FFF2-40B4-BE49-F238E27FC236}">
                    <a16:creationId xmlns:a16="http://schemas.microsoft.com/office/drawing/2014/main" id="{3F767081-C242-EC9D-3C5C-987945C7EBAE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476921" y="4657641"/>
                <a:ext cx="6648120" cy="432000"/>
              </a:xfrm>
              <a:prstGeom prst="rect">
                <a:avLst/>
              </a:prstGeom>
            </p:spPr>
          </p:pic>
        </mc:Fallback>
      </mc:AlternateContent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5A76CBA6-8184-B9C6-603F-CDFB1B49FC04}"/>
              </a:ext>
            </a:extLst>
          </p:cNvPr>
          <p:cNvSpPr txBox="1">
            <a:spLocks/>
          </p:cNvSpPr>
          <p:nvPr/>
        </p:nvSpPr>
        <p:spPr>
          <a:xfrm>
            <a:off x="1142243" y="6549698"/>
            <a:ext cx="8199416" cy="26914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10259809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17AA6C8-5B4E-AD2E-D600-842BA1E7B8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27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44" imgH="544" progId="TCLayout.ActiveDocument.1">
                  <p:embed/>
                </p:oleObj>
              </mc:Choice>
              <mc:Fallback>
                <p:oleObj name="Diapositive think-cell" r:id="rId4" imgW="544" imgH="54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7AA6C8-5B4E-AD2E-D600-842BA1E7B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0AA4B5E-2B8D-3820-1CBF-332FB162BF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8196" y="352146"/>
            <a:ext cx="387350" cy="387350"/>
          </a:xfrm>
          <a:solidFill>
            <a:schemeClr val="accent1"/>
          </a:solidFill>
        </p:spPr>
        <p:txBody>
          <a:bodyPr/>
          <a:lstStyle/>
          <a:p>
            <a:r>
              <a:rPr lang="fr-FR" dirty="0"/>
              <a:t>Lorem ipsum </a:t>
            </a:r>
          </a:p>
          <a:p>
            <a:r>
              <a:rPr lang="fr-FR" dirty="0"/>
              <a:t>Lorem ipsum </a:t>
            </a:r>
          </a:p>
          <a:p>
            <a:r>
              <a:rPr lang="fr-FR" dirty="0"/>
              <a:t>Lorem ipsum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FC78B8D-49A4-3A01-0E77-198089AEB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604" y="-128185"/>
            <a:ext cx="7263392" cy="1325563"/>
          </a:xfrm>
        </p:spPr>
        <p:txBody>
          <a:bodyPr vert="horz"/>
          <a:lstStyle/>
          <a:p>
            <a:pPr algn="ctr"/>
            <a:r>
              <a:rPr lang="fr-FR" sz="3600"/>
              <a:t>Bilan national édition 2024</a:t>
            </a:r>
          </a:p>
        </p:txBody>
      </p:sp>
      <p:graphicFrame>
        <p:nvGraphicFramePr>
          <p:cNvPr id="49" name="Chart Placeholder 48">
            <a:extLst>
              <a:ext uri="{FF2B5EF4-FFF2-40B4-BE49-F238E27FC236}">
                <a16:creationId xmlns:a16="http://schemas.microsoft.com/office/drawing/2014/main" id="{25918A48-8DBF-F063-3C1E-D1306809CD24}"/>
              </a:ext>
            </a:extLst>
          </p:cNvPr>
          <p:cNvGraphicFramePr>
            <a:graphicFrameLocks noGrp="1"/>
          </p:cNvGraphicFramePr>
          <p:nvPr>
            <p:ph type="chart" sz="quarter" idx="20"/>
            <p:extLst>
              <p:ext uri="{D42A27DB-BD31-4B8C-83A1-F6EECF244321}">
                <p14:modId xmlns:p14="http://schemas.microsoft.com/office/powerpoint/2010/main" val="517268191"/>
              </p:ext>
            </p:extLst>
          </p:nvPr>
        </p:nvGraphicFramePr>
        <p:xfrm>
          <a:off x="6203950" y="2501900"/>
          <a:ext cx="5437188" cy="2779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D10FF1-672C-7482-C042-F16F15C0A49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0" y="6336577"/>
            <a:ext cx="720000" cy="169277"/>
          </a:xfrm>
        </p:spPr>
        <p:txBody>
          <a:bodyPr/>
          <a:lstStyle/>
          <a:p>
            <a:fld id="{22A8F993-E9C6-4879-8876-5511108B5C62}" type="slidenum">
              <a:rPr lang="fr-FR" smtClean="0"/>
              <a:pPr/>
              <a:t>6</a:t>
            </a:fld>
            <a:r>
              <a:rPr lang="fr-FR" dirty="0"/>
              <a:t> |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BA71B54-82B4-8EB8-8C61-2EA5405FE4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2996" y="230626"/>
            <a:ext cx="3583231" cy="3361914"/>
          </a:xfrm>
          <a:prstGeom prst="rect">
            <a:avLst/>
          </a:prstGeom>
        </p:spPr>
      </p:pic>
      <p:sp>
        <p:nvSpPr>
          <p:cNvPr id="15" name="Content Placeholder 1029">
            <a:extLst>
              <a:ext uri="{FF2B5EF4-FFF2-40B4-BE49-F238E27FC236}">
                <a16:creationId xmlns:a16="http://schemas.microsoft.com/office/drawing/2014/main" id="{EFCBFBC1-19DE-605D-2432-6560579D63F1}"/>
              </a:ext>
            </a:extLst>
          </p:cNvPr>
          <p:cNvSpPr txBox="1">
            <a:spLocks/>
          </p:cNvSpPr>
          <p:nvPr/>
        </p:nvSpPr>
        <p:spPr>
          <a:xfrm>
            <a:off x="1757308" y="1098328"/>
            <a:ext cx="3901156" cy="4111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kern="1200" spc="-2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 spc="-2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ès de 2000 évènements</a:t>
            </a:r>
          </a:p>
          <a:p>
            <a:endParaRPr lang="en-US" sz="2200" dirty="0"/>
          </a:p>
        </p:txBody>
      </p:sp>
      <p:sp>
        <p:nvSpPr>
          <p:cNvPr id="16" name="Content Placeholder 1029">
            <a:extLst>
              <a:ext uri="{FF2B5EF4-FFF2-40B4-BE49-F238E27FC236}">
                <a16:creationId xmlns:a16="http://schemas.microsoft.com/office/drawing/2014/main" id="{30BAE8B7-6985-D926-EB9D-69B9CFE44CCA}"/>
              </a:ext>
            </a:extLst>
          </p:cNvPr>
          <p:cNvSpPr txBox="1">
            <a:spLocks/>
          </p:cNvSpPr>
          <p:nvPr/>
        </p:nvSpPr>
        <p:spPr>
          <a:xfrm>
            <a:off x="1929774" y="2104389"/>
            <a:ext cx="5640244" cy="17676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Wingdings" panose="05000000000000000000" pitchFamily="2" charset="2"/>
              <a:buChar char="ü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9376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Plus de </a:t>
            </a:r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34 100 inscriptions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	</a:t>
            </a:r>
            <a:endParaRPr lang="fr-FR" sz="1400" dirty="0">
              <a:solidFill>
                <a:schemeClr val="tx1">
                  <a:lumMod val="75000"/>
                </a:schemeClr>
              </a:solidFill>
            </a:endParaRPr>
          </a:p>
          <a:p>
            <a:pPr lvl="1"/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+ de 80% sont des femmes</a:t>
            </a:r>
          </a:p>
          <a:p>
            <a:pPr lvl="1"/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12 % des participants ont 55 ans et +</a:t>
            </a:r>
          </a:p>
          <a:p>
            <a:pPr lvl="1"/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Près de 19 % ont – de 26 an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fr-FR" sz="2000" dirty="0"/>
          </a:p>
          <a:p>
            <a:endParaRPr lang="en-US" sz="2200" dirty="0"/>
          </a:p>
        </p:txBody>
      </p:sp>
      <p:sp>
        <p:nvSpPr>
          <p:cNvPr id="17" name="Content Placeholder 1029">
            <a:extLst>
              <a:ext uri="{FF2B5EF4-FFF2-40B4-BE49-F238E27FC236}">
                <a16:creationId xmlns:a16="http://schemas.microsoft.com/office/drawing/2014/main" id="{E015871F-17A3-47A5-7D9B-88A78B57E852}"/>
              </a:ext>
            </a:extLst>
          </p:cNvPr>
          <p:cNvSpPr txBox="1">
            <a:spLocks/>
          </p:cNvSpPr>
          <p:nvPr/>
        </p:nvSpPr>
        <p:spPr>
          <a:xfrm>
            <a:off x="2132453" y="1466122"/>
            <a:ext cx="4071497" cy="4111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Wingdings" panose="05000000000000000000" pitchFamily="2" charset="2"/>
              <a:buChar char="ü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9376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sz="1200" i="1" dirty="0">
                <a:solidFill>
                  <a:schemeClr val="tx1">
                    <a:lumMod val="75000"/>
                  </a:schemeClr>
                </a:solidFill>
              </a:rPr>
              <a:t>En 2023: + de 1400 évènements</a:t>
            </a:r>
          </a:p>
          <a:p>
            <a:endParaRPr lang="en-US" sz="2200" dirty="0"/>
          </a:p>
        </p:txBody>
      </p:sp>
      <p:sp>
        <p:nvSpPr>
          <p:cNvPr id="18" name="Content Placeholder 1029">
            <a:extLst>
              <a:ext uri="{FF2B5EF4-FFF2-40B4-BE49-F238E27FC236}">
                <a16:creationId xmlns:a16="http://schemas.microsoft.com/office/drawing/2014/main" id="{E4F42BDD-A46D-3934-A488-EF57782C10BF}"/>
              </a:ext>
            </a:extLst>
          </p:cNvPr>
          <p:cNvSpPr txBox="1">
            <a:spLocks/>
          </p:cNvSpPr>
          <p:nvPr/>
        </p:nvSpPr>
        <p:spPr>
          <a:xfrm>
            <a:off x="1793673" y="3816326"/>
            <a:ext cx="8178229" cy="4751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Wingdings" panose="05000000000000000000" pitchFamily="2" charset="2"/>
              <a:buChar char="ü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657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43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893763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4E9D72"/>
              </a:buClr>
              <a:buFont typeface="Arial" panose="020B0604020202020204" pitchFamily="34" charset="0"/>
              <a:buChar char="•"/>
              <a:tabLst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Une 100aine d’évènements organisés ou coorganisés avec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E264F27E-6163-EEC4-BBC6-DF8351ED58B3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24417" y="2842096"/>
            <a:ext cx="742167" cy="553680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20" name="Image 6">
            <a:extLst>
              <a:ext uri="{FF2B5EF4-FFF2-40B4-BE49-F238E27FC236}">
                <a16:creationId xmlns:a16="http://schemas.microsoft.com/office/drawing/2014/main" id="{387B21B4-B684-6DAC-B2C2-513F0066ACD1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80229" y="2201229"/>
            <a:ext cx="487582" cy="6013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58D651CA-31F7-BBE6-F43C-9DF3C10E69AF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595705" y="3551763"/>
            <a:ext cx="918535" cy="610072"/>
          </a:xfrm>
          <a:prstGeom prst="rect">
            <a:avLst/>
          </a:prstGeom>
        </p:spPr>
      </p:pic>
      <p:pic>
        <p:nvPicPr>
          <p:cNvPr id="23" name="Picture 9">
            <a:extLst>
              <a:ext uri="{FF2B5EF4-FFF2-40B4-BE49-F238E27FC236}">
                <a16:creationId xmlns:a16="http://schemas.microsoft.com/office/drawing/2014/main" id="{E596FA54-082D-33FF-43A5-3CC01266E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368" y="3751548"/>
            <a:ext cx="831530" cy="564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age 7" descr="1641373170199">
            <a:extLst>
              <a:ext uri="{FF2B5EF4-FFF2-40B4-BE49-F238E27FC236}">
                <a16:creationId xmlns:a16="http://schemas.microsoft.com/office/drawing/2014/main" id="{E3C8C86C-EE5C-C92B-4522-BFF9E9354A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213" y="3771976"/>
            <a:ext cx="756103" cy="481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38ACF38E-BF4A-69BC-47C3-2F40E260E90A}"/>
              </a:ext>
            </a:extLst>
          </p:cNvPr>
          <p:cNvSpPr txBox="1"/>
          <p:nvPr/>
        </p:nvSpPr>
        <p:spPr>
          <a:xfrm>
            <a:off x="1820828" y="5287545"/>
            <a:ext cx="967364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400" b="1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webinaires nationaux </a:t>
            </a:r>
          </a:p>
          <a:p>
            <a:pPr marL="742950" lvl="1" indent="-285750">
              <a:buFontTx/>
              <a:buChar char="-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es métiers du médico-social et du social</a:t>
            </a:r>
          </a:p>
          <a:p>
            <a:pPr marL="742950" lvl="1" indent="-285750">
              <a:buFontTx/>
              <a:buChar char="-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ravailler en France dans la santé avec un diplôme obtenu en UE et hors UE</a:t>
            </a:r>
          </a:p>
        </p:txBody>
      </p:sp>
      <p:pic>
        <p:nvPicPr>
          <p:cNvPr id="29" name="Graphique 28" descr="Calendrier journalier contour">
            <a:extLst>
              <a:ext uri="{FF2B5EF4-FFF2-40B4-BE49-F238E27FC236}">
                <a16:creationId xmlns:a16="http://schemas.microsoft.com/office/drawing/2014/main" id="{64CEA3A2-F31E-9210-6F24-BB2F15A0716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92284" y="1181949"/>
            <a:ext cx="568345" cy="568345"/>
          </a:xfrm>
          <a:prstGeom prst="rect">
            <a:avLst/>
          </a:prstGeom>
        </p:spPr>
      </p:pic>
      <p:pic>
        <p:nvPicPr>
          <p:cNvPr id="36" name="Graphique 35" descr="Utilisateurs contour">
            <a:extLst>
              <a:ext uri="{FF2B5EF4-FFF2-40B4-BE49-F238E27FC236}">
                <a16:creationId xmlns:a16="http://schemas.microsoft.com/office/drawing/2014/main" id="{7BB3AF91-55B6-E66C-1C3F-A0CB0E0882B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92284" y="2272712"/>
            <a:ext cx="679220" cy="67922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70B1C3-20EB-3EC8-8FAC-68EC26607C3E}"/>
              </a:ext>
            </a:extLst>
          </p:cNvPr>
          <p:cNvSpPr txBox="1"/>
          <p:nvPr/>
        </p:nvSpPr>
        <p:spPr>
          <a:xfrm>
            <a:off x="1793673" y="4552973"/>
            <a:ext cx="557298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ne 20aine de partenaires nationaux mobilisés</a:t>
            </a:r>
          </a:p>
        </p:txBody>
      </p:sp>
      <p:pic>
        <p:nvPicPr>
          <p:cNvPr id="6" name="Graphique 5" descr="Salle de conseil contour">
            <a:extLst>
              <a:ext uri="{FF2B5EF4-FFF2-40B4-BE49-F238E27FC236}">
                <a16:creationId xmlns:a16="http://schemas.microsoft.com/office/drawing/2014/main" id="{4C00CE4E-2A30-9D00-15BD-841E26E99F1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06077" y="3590305"/>
            <a:ext cx="638608" cy="638608"/>
          </a:xfrm>
          <a:prstGeom prst="rect">
            <a:avLst/>
          </a:prstGeom>
        </p:spPr>
      </p:pic>
      <p:pic>
        <p:nvPicPr>
          <p:cNvPr id="11" name="Graphique 10" descr="Ordinateur portable contour">
            <a:extLst>
              <a:ext uri="{FF2B5EF4-FFF2-40B4-BE49-F238E27FC236}">
                <a16:creationId xmlns:a16="http://schemas.microsoft.com/office/drawing/2014/main" id="{BD3FCE2A-1175-CA81-7551-4924F79BC7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209284" y="5360009"/>
            <a:ext cx="584389" cy="584389"/>
          </a:xfrm>
          <a:prstGeom prst="rect">
            <a:avLst/>
          </a:prstGeom>
        </p:spPr>
      </p:pic>
      <p:pic>
        <p:nvPicPr>
          <p:cNvPr id="13" name="Graphique 12" descr="Poignée de main contour">
            <a:extLst>
              <a:ext uri="{FF2B5EF4-FFF2-40B4-BE49-F238E27FC236}">
                <a16:creationId xmlns:a16="http://schemas.microsoft.com/office/drawing/2014/main" id="{1F88A834-E124-C302-9F41-CC3D8655740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33186" y="4409018"/>
            <a:ext cx="584389" cy="584389"/>
          </a:xfrm>
          <a:prstGeom prst="rect">
            <a:avLst/>
          </a:prstGeom>
        </p:spPr>
      </p:pic>
      <p:sp>
        <p:nvSpPr>
          <p:cNvPr id="26" name="Espace réservé du pied de page 6">
            <a:extLst>
              <a:ext uri="{FF2B5EF4-FFF2-40B4-BE49-F238E27FC236}">
                <a16:creationId xmlns:a16="http://schemas.microsoft.com/office/drawing/2014/main" id="{E5EB7B80-7255-F9E7-EE8F-F8B811FD37B0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24107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98601" y="3323"/>
            <a:ext cx="11347142" cy="6617196"/>
          </a:xfrm>
          <a:prstGeom prst="rect">
            <a:avLst/>
          </a:prstGeom>
          <a:ln>
            <a:solidFill>
              <a:schemeClr val="tx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le Emploi PRO Light"/>
                <a:ea typeface="Verdana"/>
              </a:rPr>
              <a:t>Semaine 2024 des métiers du soin et de l’accompagnement en Grand Est </a:t>
            </a:r>
          </a:p>
          <a:p>
            <a:endParaRPr lang="fr-FR" sz="1600" b="1" dirty="0">
              <a:solidFill>
                <a:schemeClr val="accent4">
                  <a:lumMod val="75000"/>
                </a:schemeClr>
              </a:solidFill>
              <a:latin typeface="Pole Emploi PRO Light"/>
              <a:ea typeface="Verdana"/>
              <a:cs typeface="Verdana" panose="020B0604030504040204" pitchFamily="34" charset="0"/>
            </a:endParaRPr>
          </a:p>
          <a:p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latin typeface="Pole Emploi PRO Light"/>
                <a:ea typeface="Verdana"/>
                <a:cs typeface="Verdana" panose="020B0604030504040204" pitchFamily="34" charset="0"/>
              </a:rPr>
              <a:t>		</a:t>
            </a:r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Pole Emploi PRO Light"/>
                <a:ea typeface="Verdana"/>
                <a:cs typeface="Verdana" panose="020B0604030504040204" pitchFamily="34" charset="0"/>
              </a:rPr>
              <a:t>*205 évènements </a:t>
            </a:r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le Emploi PRO Light"/>
                <a:ea typeface="Verdana"/>
                <a:cs typeface="Verdana" panose="020B0604030504040204" pitchFamily="34" charset="0"/>
              </a:rPr>
              <a:t>			*</a:t>
            </a:r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ighlight>
                  <a:srgbClr val="00FFFF"/>
                </a:highlight>
                <a:latin typeface="Pole Emploi PRO Light"/>
                <a:ea typeface="Verdana"/>
                <a:cs typeface="Verdana" panose="020B0604030504040204" pitchFamily="34" charset="0"/>
              </a:rPr>
              <a:t>3052 inscrits pour les secteurs de la santé et de l’action sociale </a:t>
            </a:r>
          </a:p>
          <a:p>
            <a:endParaRPr lang="fr-FR" sz="14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b="1" dirty="0">
                <a:solidFill>
                  <a:schemeClr val="accent4">
                    <a:lumMod val="75000"/>
                  </a:schemeClr>
                </a:solidFill>
                <a:latin typeface="Marianne Light"/>
                <a:ea typeface="Verdana"/>
                <a:cs typeface="Verdana" panose="020B0604030504040204" pitchFamily="34" charset="0"/>
              </a:rPr>
              <a:t>*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De nombreuses actions organisées en collaboration avec la FEPEM, France Emploi à Domicile et IPERIA , … mais aussi de nombreuses visites d’entreprises, de portes ouvertes, … et une grande implication des équipes du Grand Est , des entreprises et des centres de formation qui ont répondus présents !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*</a:t>
            </a:r>
            <a:r>
              <a:rPr lang="fr-FR" sz="1400" u="sng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Sur la répartition par type d’évènements : </a:t>
            </a:r>
            <a:r>
              <a:rPr lang="fr-FR" sz="1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rianne Light"/>
                <a:ea typeface="Verdana"/>
              </a:rPr>
              <a:t>18,5 % des évènements ont été des JOB DATING - 13, 4 % des visites d’établissements et 12,4 % des portes ouvertes </a:t>
            </a:r>
          </a:p>
          <a:p>
            <a:endParaRPr lang="fr-FR" sz="1400" u="sng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u="sng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*Sur la répartition des objectifs associes aux évènements  : </a:t>
            </a:r>
            <a:r>
              <a:rPr lang="fr-FR" sz="1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rianne Light"/>
                <a:ea typeface="Verdana"/>
              </a:rPr>
              <a:t>37,5 % sur la découverte du secteur / métier – 19,5 sur du recrutement – 20,6 % sur s’informer et 9,5 % sur découverte de formations</a:t>
            </a:r>
          </a:p>
          <a:p>
            <a:endParaRPr lang="fr-FR" sz="1400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u="sng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Autres événements régionaux et nationaux</a:t>
            </a:r>
          </a:p>
          <a:p>
            <a:endParaRPr lang="fr-FR" sz="1400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*</a:t>
            </a:r>
            <a:r>
              <a:rPr lang="fr-FR" sz="1400" b="1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1 WEBINAIRE national sur les métiers du social  le 23 avril après-midi à destination de tout  public 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avec animations en agence pour le public AIJ et CEJ (Le Grand Est était co-organisateur) (290 DE invités et 47 MEE jeunes ) </a:t>
            </a:r>
          </a:p>
          <a:p>
            <a:endParaRPr lang="fr-FR" sz="1400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b="1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*1 WEBINAIRE national « Travailler en France dans la santé 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avec un diplôme obtenu en et hors UE  le jeudi 25 Avril après-midi</a:t>
            </a:r>
          </a:p>
          <a:p>
            <a:endParaRPr lang="fr-FR" sz="1400" dirty="0">
              <a:solidFill>
                <a:schemeClr val="tx2"/>
              </a:solidFill>
              <a:latin typeface="Marianne Light"/>
              <a:ea typeface="Verdana"/>
              <a:cs typeface="Verdana" panose="020B0604030504040204" pitchFamily="34" charset="0"/>
            </a:endParaRPr>
          </a:p>
          <a:p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*</a:t>
            </a:r>
            <a:r>
              <a:rPr lang="fr-FR" sz="1400" b="1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Des Journées Portes Ouvertes d’établissements de santé 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(hôpitaux, EHPAD, …) organisées par quatre fédérations (FHF, FHP, </a:t>
            </a:r>
            <a:r>
              <a:rPr lang="fr-FR" sz="1400" err="1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Unicancer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 et FEHAP) avec le soutien de la Région Grand Est du 15 au 20 avril – Mobilisation des agences France Travail via MEE </a:t>
            </a:r>
          </a:p>
          <a:p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						</a:t>
            </a:r>
          </a:p>
          <a:p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 	... </a:t>
            </a:r>
            <a:r>
              <a:rPr lang="fr-FR" sz="1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rianne Light"/>
                <a:ea typeface="Verdana"/>
              </a:rPr>
              <a:t>Les actions se sont  poursuivies …  </a:t>
            </a:r>
            <a:r>
              <a:rPr lang="fr-FR" sz="1400" dirty="0">
                <a:solidFill>
                  <a:schemeClr val="tx2"/>
                </a:solidFill>
                <a:latin typeface="Marianne Light"/>
                <a:ea typeface="Verdana"/>
                <a:cs typeface="Verdana" panose="020B0604030504040204" pitchFamily="34" charset="0"/>
              </a:rPr>
              <a:t>le 14 mai WEBINAIRE à destination des DE « Trouve ton chemin dans l’alternance «  avec l’OPCO SANTE Grand Est et le 18 juin WEBINAIRE à destination des prescripteurs avec la FEPEM-IPERIA sur « Les métiers de l’emploi à domicile, un secteur qui recrute »</a:t>
            </a:r>
          </a:p>
          <a:p>
            <a:endParaRPr lang="fr-FR" sz="1400" b="1" dirty="0">
              <a:solidFill>
                <a:srgbClr val="1D6FA9">
                  <a:lumMod val="75000"/>
                </a:srgbClr>
              </a:solidFill>
              <a:latin typeface="+mj-lt"/>
              <a:ea typeface="Verdana"/>
              <a:cs typeface="Verdana" panose="020B0604030504040204" pitchFamily="34" charset="0"/>
            </a:endParaRPr>
          </a:p>
          <a:p>
            <a:endParaRPr lang="fr-FR" sz="1400" b="1" dirty="0">
              <a:solidFill>
                <a:srgbClr val="1D6FA9">
                  <a:lumMod val="75000"/>
                </a:srgbClr>
              </a:solidFill>
              <a:latin typeface="+mj-lt"/>
              <a:ea typeface="Verdana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082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5E2D703F-A316-4413-EDCA-6A153B492B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650" y="646905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F99C6B-D011-23E4-FB3C-1749583636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7844" y="476249"/>
            <a:ext cx="10961506" cy="1116011"/>
          </a:xfrm>
        </p:spPr>
        <p:txBody>
          <a:bodyPr/>
          <a:lstStyle/>
          <a:p>
            <a:br>
              <a:rPr lang="fr-FR" sz="2800" dirty="0"/>
            </a:br>
            <a:r>
              <a:rPr lang="fr-FR" sz="2800" dirty="0"/>
              <a:t>Les enjeux:</a:t>
            </a:r>
            <a:br>
              <a:rPr lang="fr-FR" sz="2800" dirty="0"/>
            </a:br>
            <a:br>
              <a:rPr lang="fr-FR" sz="2800" dirty="0"/>
            </a:br>
            <a:endParaRPr lang="fr-FR" sz="28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2C85E7F-0690-AE47-F677-A7FAA057AA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253457" y="1655805"/>
            <a:ext cx="9552711" cy="4850049"/>
          </a:xfrm>
        </p:spPr>
        <p:txBody>
          <a:bodyPr/>
          <a:lstStyle/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Favorise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 l’attractivité du secteur sanitaire et social et de ses métiers auprès du grand public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Valoriser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l’image des professionnels à travers leurs retours d’expérience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Susciter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des vocations et aborder la reconversion vers des métiers utiles et porteurs de sens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Partage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 les nombreuses opportunités et évolutions professionnelles qu’offrent ce secteur d’activité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Promouvoi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 les actions de formations permettant d’accéder aux métiers du secteur sanitaire et social.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Proposer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 des actions favorisant les démarches inclusives des publics demandeurs d’emploi, notamment du public en situation de handicap, dans ce secteur d’activité</a:t>
            </a:r>
            <a:endParaRPr lang="fr-FR" sz="1400" b="1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Faciliter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les recrutements</a:t>
            </a:r>
          </a:p>
          <a:p>
            <a:r>
              <a:rPr lang="fr-FR" sz="1400" b="1" dirty="0">
                <a:solidFill>
                  <a:schemeClr val="tx1">
                    <a:lumMod val="75000"/>
                  </a:schemeClr>
                </a:solidFill>
              </a:rPr>
              <a:t>Renforcer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</a:rPr>
              <a:t>les relations partenariales entre France Travail et les acteurs clés du secteur</a:t>
            </a:r>
          </a:p>
          <a:p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E8E95CA7-9D4E-16CC-2E76-92B309E1FBB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8</a:t>
            </a:fld>
            <a:r>
              <a:rPr lang="fr-FR"/>
              <a:t> |</a:t>
            </a:r>
            <a:endParaRPr lang="fr-FR" dirty="0"/>
          </a:p>
        </p:txBody>
      </p:sp>
      <p:pic>
        <p:nvPicPr>
          <p:cNvPr id="13" name="Image 12" descr="Une image contenant symbole, Graphique, Police, logo&#10;&#10;Description générée automatiquement">
            <a:extLst>
              <a:ext uri="{FF2B5EF4-FFF2-40B4-BE49-F238E27FC236}">
                <a16:creationId xmlns:a16="http://schemas.microsoft.com/office/drawing/2014/main" id="{47D978DE-4EDF-74AA-4F6D-F8A2C7769CB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203920">
            <a:off x="678454" y="1573289"/>
            <a:ext cx="355641" cy="355641"/>
          </a:xfrm>
          <a:prstGeom prst="rect">
            <a:avLst/>
          </a:prstGeom>
        </p:spPr>
      </p:pic>
      <p:pic>
        <p:nvPicPr>
          <p:cNvPr id="15" name="Image 14" descr="Une image contenant Graphiqu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A11C0509-CEFD-AF5D-ADF3-E54032149B8F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261" y="2110812"/>
            <a:ext cx="371715" cy="371715"/>
          </a:xfrm>
          <a:prstGeom prst="rect">
            <a:avLst/>
          </a:prstGeom>
        </p:spPr>
      </p:pic>
      <p:pic>
        <p:nvPicPr>
          <p:cNvPr id="17" name="Image 16" descr="Une image contenant cercle, Graphique, Caractère coloré&#10;&#10;Description générée automatiquement">
            <a:extLst>
              <a:ext uri="{FF2B5EF4-FFF2-40B4-BE49-F238E27FC236}">
                <a16:creationId xmlns:a16="http://schemas.microsoft.com/office/drawing/2014/main" id="{2C3DBA7A-55D7-677A-4724-67D2EAB4842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163" y="3179178"/>
            <a:ext cx="371715" cy="371715"/>
          </a:xfrm>
          <a:prstGeom prst="rect">
            <a:avLst/>
          </a:prstGeom>
        </p:spPr>
      </p:pic>
      <p:pic>
        <p:nvPicPr>
          <p:cNvPr id="18" name="Graphique 17" descr="Classe contour">
            <a:extLst>
              <a:ext uri="{FF2B5EF4-FFF2-40B4-BE49-F238E27FC236}">
                <a16:creationId xmlns:a16="http://schemas.microsoft.com/office/drawing/2014/main" id="{E7F51621-541C-08B0-67AB-2A87A287B6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1922" y="3639010"/>
            <a:ext cx="553075" cy="553075"/>
          </a:xfrm>
          <a:prstGeom prst="rect">
            <a:avLst/>
          </a:prstGeom>
        </p:spPr>
      </p:pic>
      <p:pic>
        <p:nvPicPr>
          <p:cNvPr id="20" name="Image 19" descr="Une image contenant Graphique, Police, graphisme, symbole&#10;&#10;Description générée automatiquement">
            <a:extLst>
              <a:ext uri="{FF2B5EF4-FFF2-40B4-BE49-F238E27FC236}">
                <a16:creationId xmlns:a16="http://schemas.microsoft.com/office/drawing/2014/main" id="{402619AF-9CE6-4496-1098-ED44ABAF1D9F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39" y="4280202"/>
            <a:ext cx="414227" cy="414227"/>
          </a:xfrm>
          <a:prstGeom prst="rect">
            <a:avLst/>
          </a:prstGeom>
        </p:spPr>
      </p:pic>
      <p:pic>
        <p:nvPicPr>
          <p:cNvPr id="88" name="Graphique 87" descr="Lumières allumées contour">
            <a:extLst>
              <a:ext uri="{FF2B5EF4-FFF2-40B4-BE49-F238E27FC236}">
                <a16:creationId xmlns:a16="http://schemas.microsoft.com/office/drawing/2014/main" id="{E157C851-CA49-5F2D-F3EF-D7254749D0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4993" y="2570644"/>
            <a:ext cx="457200" cy="457200"/>
          </a:xfrm>
          <a:prstGeom prst="rect">
            <a:avLst/>
          </a:prstGeom>
        </p:spPr>
      </p:pic>
      <p:pic>
        <p:nvPicPr>
          <p:cNvPr id="21" name="Image 20" descr="Une image contenant Graphique, cercle, Police, graphisme&#10;&#10;Description générée automatiquement">
            <a:extLst>
              <a:ext uri="{FF2B5EF4-FFF2-40B4-BE49-F238E27FC236}">
                <a16:creationId xmlns:a16="http://schemas.microsoft.com/office/drawing/2014/main" id="{F26B68C5-1543-985C-AAFB-C4321A5C395B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39" y="4862534"/>
            <a:ext cx="464336" cy="464336"/>
          </a:xfrm>
          <a:prstGeom prst="rect">
            <a:avLst/>
          </a:prstGeom>
        </p:spPr>
      </p:pic>
      <p:pic>
        <p:nvPicPr>
          <p:cNvPr id="22" name="Graphique 21" descr="Poignée de main contour">
            <a:extLst>
              <a:ext uri="{FF2B5EF4-FFF2-40B4-BE49-F238E27FC236}">
                <a16:creationId xmlns:a16="http://schemas.microsoft.com/office/drawing/2014/main" id="{5E42B8FD-3EFE-DE70-2B64-C6883B531426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6264" y="5355670"/>
            <a:ext cx="584389" cy="584389"/>
          </a:xfrm>
          <a:prstGeom prst="rect">
            <a:avLst/>
          </a:prstGeom>
        </p:spPr>
      </p:pic>
      <p:sp>
        <p:nvSpPr>
          <p:cNvPr id="6" name="Espace réservé du pied de page 6">
            <a:extLst>
              <a:ext uri="{FF2B5EF4-FFF2-40B4-BE49-F238E27FC236}">
                <a16:creationId xmlns:a16="http://schemas.microsoft.com/office/drawing/2014/main" id="{F8173517-4EAE-1F47-A2EA-FDD7458CA0EF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</a:rPr>
              <a:t>Semaine des métiers du soin et de l’accompagnement – France Travail Grand Est – 20 janvier 2025</a:t>
            </a:r>
          </a:p>
        </p:txBody>
      </p:sp>
    </p:spTree>
    <p:extLst>
      <p:ext uri="{BB962C8B-B14F-4D97-AF65-F5344CB8AC3E}">
        <p14:creationId xmlns:p14="http://schemas.microsoft.com/office/powerpoint/2010/main" val="2438801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C93760-CB35-9A50-06D7-0BC2A100FC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54C1F96-26C5-B77C-6F4F-FF728FF39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650" y="646905"/>
            <a:ext cx="387350" cy="38735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BB155EF-D31B-3E6A-789A-D45A02A96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849" y="230110"/>
            <a:ext cx="10961506" cy="1158301"/>
          </a:xfrm>
        </p:spPr>
        <p:txBody>
          <a:bodyPr/>
          <a:lstStyle/>
          <a:p>
            <a:br>
              <a:rPr lang="fr-FR" sz="2800" dirty="0"/>
            </a:br>
            <a:r>
              <a:rPr lang="fr-FR" sz="2800" dirty="0"/>
              <a:t>Le secteur regroupe:</a:t>
            </a:r>
            <a:br>
              <a:rPr lang="fr-FR" sz="2800" dirty="0"/>
            </a:br>
            <a:endParaRPr lang="fr-FR" sz="2800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7414F03-0ABC-3E36-588E-F76C267317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7844" y="1582240"/>
            <a:ext cx="10626856" cy="4534930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fr-FR" sz="1600" b="1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Les métiers de la santé </a:t>
            </a:r>
            <a:r>
              <a:rPr lang="fr-FR" sz="16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(agent de service hospitalier, aide soignant, infirmier, assistant de régulation médicale,  manipulateur en électroradiologie médicale, auxiliaire ambulancier, ambulancier,…)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fr-FR" sz="1600" b="1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Les métiers du service à la personne </a:t>
            </a:r>
            <a:r>
              <a:rPr lang="fr-FR" sz="16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(aide ménager à domicile,  aide à domicile, assistant de vie dépendance, accompagnant éducatif et social, auxiliaire de vie sociale, technicien de l’intervention sociale et familiale…)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fr-FR" sz="1600" b="1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Les métiers du social et du médico-social </a:t>
            </a:r>
            <a:r>
              <a:rPr lang="fr-FR" sz="16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(accompagnant éducatif et social, moniteur d’atelier, moniteur éducateur, éducateur spécialisé, maitresse de maison, surveillant de nuit,…)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fr-FR" sz="1600" b="1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Les métiers de la petite enfance </a:t>
            </a:r>
            <a:r>
              <a:rPr lang="fr-FR" sz="1600" dirty="0">
                <a:solidFill>
                  <a:schemeClr val="tx1">
                    <a:lumMod val="75000"/>
                  </a:schemeClr>
                </a:solidFill>
                <a:sym typeface="Phenomena" pitchFamily="50" charset="0"/>
              </a:rPr>
              <a:t>(accompagnant éducatif petite enfance, auxiliaire de puériculture, éducateur de jeunes enfants, assistant maternel…)</a:t>
            </a:r>
          </a:p>
          <a:p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BAD3541-346E-0BC8-7D1D-B05DADE803B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22A8F993-E9C6-4879-8876-5511108B5C62}" type="slidenum">
              <a:rPr lang="fr-FR" smtClean="0"/>
              <a:pPr algn="r"/>
              <a:t>9</a:t>
            </a:fld>
            <a:r>
              <a:rPr lang="fr-FR"/>
              <a:t> |</a:t>
            </a:r>
            <a:endParaRPr lang="fr-FR" dirty="0"/>
          </a:p>
        </p:txBody>
      </p:sp>
      <p:sp>
        <p:nvSpPr>
          <p:cNvPr id="11" name="Espace réservé du pied de page 6">
            <a:extLst>
              <a:ext uri="{FF2B5EF4-FFF2-40B4-BE49-F238E27FC236}">
                <a16:creationId xmlns:a16="http://schemas.microsoft.com/office/drawing/2014/main" id="{C2DFDAA3-6494-73B1-C515-2331A357CC4E}"/>
              </a:ext>
            </a:extLst>
          </p:cNvPr>
          <p:cNvSpPr txBox="1">
            <a:spLocks/>
          </p:cNvSpPr>
          <p:nvPr/>
        </p:nvSpPr>
        <p:spPr>
          <a:xfrm>
            <a:off x="848460" y="6311000"/>
            <a:ext cx="8814524" cy="28750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 dirty="0">
                <a:latin typeface="+mj-lt"/>
                <a:ea typeface="Verdana"/>
              </a:rPr>
              <a:t>Semaine des métiers du soin et de l’accompagnement – France Travail Grand Est – 20 janvier 2025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DD6F76B-599C-2808-35A3-2C14D5B6D18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7300" y="1633962"/>
            <a:ext cx="464820" cy="38735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1600E289-BA89-63C8-27BE-110EA93D2A2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9508" y="4235615"/>
            <a:ext cx="383776" cy="43029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039AEF75-39CA-B1A9-E633-5D8D3B8B9DA1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1163" y="2381018"/>
            <a:ext cx="412121" cy="46038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ECC92CC-572D-1AAE-72C8-A92D84A55F8A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7300" y="3438129"/>
            <a:ext cx="443420" cy="443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371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France Travail N°1">
  <a:themeElements>
    <a:clrScheme name="France Travail VDEF">
      <a:dk1>
        <a:srgbClr val="293378"/>
      </a:dk1>
      <a:lt1>
        <a:srgbClr val="FFFFFF"/>
      </a:lt1>
      <a:dk2>
        <a:srgbClr val="0D1440"/>
      </a:dk2>
      <a:lt2>
        <a:srgbClr val="F5F2EE"/>
      </a:lt2>
      <a:accent1>
        <a:srgbClr val="7E58A0"/>
      </a:accent1>
      <a:accent2>
        <a:srgbClr val="FFCC52"/>
      </a:accent2>
      <a:accent3>
        <a:srgbClr val="406BDE"/>
      </a:accent3>
      <a:accent4>
        <a:srgbClr val="D96B00"/>
      </a:accent4>
      <a:accent5>
        <a:srgbClr val="D92424"/>
      </a:accent5>
      <a:accent6>
        <a:srgbClr val="5C0F38"/>
      </a:accent6>
      <a:hlink>
        <a:srgbClr val="467886"/>
      </a:hlink>
      <a:folHlink>
        <a:srgbClr val="96607D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asque France Travail N°2">
  <a:themeElements>
    <a:clrScheme name="France Travail VDEF">
      <a:dk1>
        <a:srgbClr val="293378"/>
      </a:dk1>
      <a:lt1>
        <a:srgbClr val="FFFFFF"/>
      </a:lt1>
      <a:dk2>
        <a:srgbClr val="0D1440"/>
      </a:dk2>
      <a:lt2>
        <a:srgbClr val="F5F2EE"/>
      </a:lt2>
      <a:accent1>
        <a:srgbClr val="7E58A0"/>
      </a:accent1>
      <a:accent2>
        <a:srgbClr val="FFCC52"/>
      </a:accent2>
      <a:accent3>
        <a:srgbClr val="406BDE"/>
      </a:accent3>
      <a:accent4>
        <a:srgbClr val="D96B00"/>
      </a:accent4>
      <a:accent5>
        <a:srgbClr val="D92424"/>
      </a:accent5>
      <a:accent6>
        <a:srgbClr val="5C0F38"/>
      </a:accent6>
      <a:hlink>
        <a:srgbClr val="467886"/>
      </a:hlink>
      <a:folHlink>
        <a:srgbClr val="96607D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Portage 1">
  <a:themeElements>
    <a:clrScheme name="Office">
      <a:dk1>
        <a:srgbClr val="E6E1DB"/>
      </a:dk1>
      <a:lt1>
        <a:srgbClr val="F5F2EE"/>
      </a:lt1>
      <a:dk2>
        <a:srgbClr val="0D1440"/>
      </a:dk2>
      <a:lt2>
        <a:srgbClr val="293378"/>
      </a:lt2>
      <a:accent1>
        <a:srgbClr val="7E58A0"/>
      </a:accent1>
      <a:accent2>
        <a:srgbClr val="FFCC52"/>
      </a:accent2>
      <a:accent3>
        <a:srgbClr val="406BDE"/>
      </a:accent3>
      <a:accent4>
        <a:srgbClr val="D96B00"/>
      </a:accent4>
      <a:accent5>
        <a:srgbClr val="D92424"/>
      </a:accent5>
      <a:accent6>
        <a:srgbClr val="5C0F38"/>
      </a:accent6>
      <a:hlink>
        <a:srgbClr val="467886"/>
      </a:hlink>
      <a:folHlink>
        <a:srgbClr val="96607D"/>
      </a:folHlink>
    </a:clrScheme>
    <a:fontScheme name="France Travail">
      <a:majorFont>
        <a:latin typeface="Marianne"/>
        <a:ea typeface=""/>
        <a:cs typeface=""/>
      </a:majorFont>
      <a:minorFont>
        <a:latin typeface="Mariann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Masque France Travail N°1">
  <a:themeElements>
    <a:clrScheme name="France Travail VDEF">
      <a:dk1>
        <a:srgbClr val="293378"/>
      </a:dk1>
      <a:lt1>
        <a:srgbClr val="FFFFFF"/>
      </a:lt1>
      <a:dk2>
        <a:srgbClr val="0D1440"/>
      </a:dk2>
      <a:lt2>
        <a:srgbClr val="F5F2EE"/>
      </a:lt2>
      <a:accent1>
        <a:srgbClr val="7E58A0"/>
      </a:accent1>
      <a:accent2>
        <a:srgbClr val="FFCC52"/>
      </a:accent2>
      <a:accent3>
        <a:srgbClr val="406BDE"/>
      </a:accent3>
      <a:accent4>
        <a:srgbClr val="D96B00"/>
      </a:accent4>
      <a:accent5>
        <a:srgbClr val="D92424"/>
      </a:accent5>
      <a:accent6>
        <a:srgbClr val="5C0F38"/>
      </a:accent6>
      <a:hlink>
        <a:srgbClr val="467886"/>
      </a:hlink>
      <a:folHlink>
        <a:srgbClr val="96607D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d2cd8af-8153-425f-96c1-4105d1895bd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5F1D585D2E1E4A8F4354B27389B9D3" ma:contentTypeVersion="12" ma:contentTypeDescription="Crée un document." ma:contentTypeScope="" ma:versionID="f6b2d765f04cd0d7b2937a2a20e2375c">
  <xsd:schema xmlns:xsd="http://www.w3.org/2001/XMLSchema" xmlns:xs="http://www.w3.org/2001/XMLSchema" xmlns:p="http://schemas.microsoft.com/office/2006/metadata/properties" xmlns:ns2="5d2cd8af-8153-425f-96c1-4105d1895bd5" xmlns:ns3="139de268-d100-45b2-a91c-a435ff8d1e3e" targetNamespace="http://schemas.microsoft.com/office/2006/metadata/properties" ma:root="true" ma:fieldsID="2d42c8899d4f2f35e609799b9ba3ae17" ns2:_="" ns3:_="">
    <xsd:import namespace="5d2cd8af-8153-425f-96c1-4105d1895bd5"/>
    <xsd:import namespace="139de268-d100-45b2-a91c-a435ff8d1e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2cd8af-8153-425f-96c1-4105d1895b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alises d’images" ma:readOnly="false" ma:fieldId="{5cf76f15-5ced-4ddc-b409-7134ff3c332f}" ma:taxonomyMulti="true" ma:sspId="0281f9de-dbd9-438f-9c50-0f15139160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9de268-d100-45b2-a91c-a435ff8d1e3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D3A9995-4C64-4542-BA73-DC37A0FF9C11}">
  <ds:schemaRefs>
    <ds:schemaRef ds:uri="http://schemas.microsoft.com/office/2006/metadata/properties"/>
    <ds:schemaRef ds:uri="http://schemas.microsoft.com/office/infopath/2007/PartnerControls"/>
    <ds:schemaRef ds:uri="5d2cd8af-8153-425f-96c1-4105d1895bd5"/>
  </ds:schemaRefs>
</ds:datastoreItem>
</file>

<file path=customXml/itemProps2.xml><?xml version="1.0" encoding="utf-8"?>
<ds:datastoreItem xmlns:ds="http://schemas.openxmlformats.org/officeDocument/2006/customXml" ds:itemID="{061F9559-5361-447D-83AC-10CEFD6621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2cd8af-8153-425f-96c1-4105d1895bd5"/>
    <ds:schemaRef ds:uri="139de268-d100-45b2-a91c-a435ff8d1e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D571135-8B08-4271-8B33-664E971189A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5a8600f-4ee6-4bb5-8f14-53589536b6df}" enabled="0" method="" siteId="{55a8600f-4ee6-4bb5-8f14-53589536b6d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553</TotalTime>
  <Words>1667</Words>
  <Application>Microsoft Office PowerPoint</Application>
  <PresentationFormat>Grand écran</PresentationFormat>
  <Paragraphs>266</Paragraphs>
  <Slides>17</Slides>
  <Notes>13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7</vt:i4>
      </vt:variant>
    </vt:vector>
  </HeadingPairs>
  <TitlesOfParts>
    <vt:vector size="21" baseType="lpstr">
      <vt:lpstr>Masque France Travail N°1</vt:lpstr>
      <vt:lpstr>Masque France Travail N°2</vt:lpstr>
      <vt:lpstr>Portage 1</vt:lpstr>
      <vt:lpstr>Masque France Travail N°1</vt:lpstr>
      <vt:lpstr>La semaine des métiers du soin  et de l’accompagnement </vt:lpstr>
      <vt:lpstr>Sommaire</vt:lpstr>
      <vt:lpstr>Les chiffres clés</vt:lpstr>
      <vt:lpstr>132 731 projets non saisonniers (68,7% du total) source BMO Grand Est 2024</vt:lpstr>
      <vt:lpstr>Les 20 métiers avec  la plus forte part de tensions  de recrutement* source BMO Grand Est 2024</vt:lpstr>
      <vt:lpstr>Bilan national édition 2024</vt:lpstr>
      <vt:lpstr>Présentation PowerPoint</vt:lpstr>
      <vt:lpstr> Les enjeux:  </vt:lpstr>
      <vt:lpstr> Le secteur regroupe: </vt:lpstr>
      <vt:lpstr>Présentation PowerPoint</vt:lpstr>
      <vt:lpstr>La semaine des Métiers du Soin et de l'Accompagnement 2025 en Grand Est – des actions programmées </vt:lpstr>
      <vt:lpstr>Partenaires</vt:lpstr>
      <vt:lpstr>Partenaires</vt:lpstr>
      <vt:lpstr>Les étapes clés:</vt:lpstr>
      <vt:lpstr>La boite à outils</vt:lpstr>
      <vt:lpstr>Pour faciliter nos échanges:</vt:lpstr>
      <vt:lpstr>À vos idées et questions 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u  Powerpoint Sous titre</dc:title>
  <dc:creator>Heitor Malheiro</dc:creator>
  <cp:lastModifiedBy>RHIT Rodolphe</cp:lastModifiedBy>
  <cp:revision>469</cp:revision>
  <cp:lastPrinted>2025-01-07T09:13:43Z</cp:lastPrinted>
  <dcterms:created xsi:type="dcterms:W3CDTF">2024-06-05T15:05:46Z</dcterms:created>
  <dcterms:modified xsi:type="dcterms:W3CDTF">2025-01-20T11:1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5F1D585D2E1E4A8F4354B27389B9D3</vt:lpwstr>
  </property>
  <property fmtid="{D5CDD505-2E9C-101B-9397-08002B2CF9AE}" pid="3" name="MediaServiceImageTags">
    <vt:lpwstr/>
  </property>
</Properties>
</file>